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0" r:id="rId5"/>
    <p:sldMasterId id="2147483704" r:id="rId6"/>
  </p:sldMasterIdLst>
  <p:notesMasterIdLst>
    <p:notesMasterId r:id="rId18"/>
  </p:notesMasterIdLst>
  <p:sldIdLst>
    <p:sldId id="2147481928" r:id="rId7"/>
    <p:sldId id="2147481936" r:id="rId8"/>
    <p:sldId id="2147481938" r:id="rId9"/>
    <p:sldId id="2147475441" r:id="rId10"/>
    <p:sldId id="2147481954" r:id="rId11"/>
    <p:sldId id="2147481618" r:id="rId12"/>
    <p:sldId id="2147481948" r:id="rId13"/>
    <p:sldId id="2147481942" r:id="rId14"/>
    <p:sldId id="2147481946" r:id="rId15"/>
    <p:sldId id="2147481950" r:id="rId16"/>
    <p:sldId id="368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F9D8C3D-7948-5696-23BF-CB3DD6E4A5D1}" name="Charlotte Pram Nielsen" initials="CN" userId="S::cnielsen@worldbank.org::385cf30b-1f54-40ab-8b43-6611d40b9fe2" providerId="AD"/>
  <p188:author id="{19951459-211A-280B-3DA6-A27B59AD6A83}" name="Sheryl Silverman" initials="SS" userId="S::ssilverman@worldbankgroup.org::3962956f-bddf-4b0c-94db-ba67f7d3ac62" providerId="AD"/>
  <p188:author id="{D4085776-FBDA-B59D-FC0B-1313CAD93DB6}" name="Anne-Sophie Monceau" initials="AM" userId="S::amonceau@worldbank.org::c2397587-6c3d-47da-a7c7-8cf12b08db49" providerId="AD"/>
  <p188:author id="{C6A72BD6-D6FF-A27F-6FE8-1591D84C28AB}" name="Bruno Rivalan" initials="BR" userId="Bruno Rivalan" providerId="None"/>
  <p188:author id="{EB387FFC-A1A2-EE0F-54D7-2CD89C3812CB}" name="Mariel Denise Morales Palomino" initials="MM" userId="S::mmoralespalomino@worldbank.org::1708ae24-48b4-46cd-9466-984dfbd113c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63"/>
    <a:srgbClr val="FF0000"/>
    <a:srgbClr val="D0C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AF4AEE-6AA3-48DD-BE82-2B8F9CE96B75}" v="9" dt="2025-05-04T20:03:38.388"/>
    <p1510:client id="{E3D7365D-9F85-52CD-4273-07F4CEB12BEB}" v="12" dt="2025-05-03T21:01:59.8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123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Franck Hildebert" userId="7dd13758-3f19-44a0-b6cd-02d8ba252391" providerId="ADAL" clId="{B4AF4AEE-6AA3-48DD-BE82-2B8F9CE96B75}"/>
    <pc:docChg chg="custSel addSld delSld modSld">
      <pc:chgData name="Pascal Franck Hildebert" userId="7dd13758-3f19-44a0-b6cd-02d8ba252391" providerId="ADAL" clId="{B4AF4AEE-6AA3-48DD-BE82-2B8F9CE96B75}" dt="2025-05-04T20:04:56.847" v="23" actId="47"/>
      <pc:docMkLst>
        <pc:docMk/>
      </pc:docMkLst>
      <pc:sldChg chg="addSp modSp mod">
        <pc:chgData name="Pascal Franck Hildebert" userId="7dd13758-3f19-44a0-b6cd-02d8ba252391" providerId="ADAL" clId="{B4AF4AEE-6AA3-48DD-BE82-2B8F9CE96B75}" dt="2025-05-04T20:03:42.991" v="22" actId="1076"/>
        <pc:sldMkLst>
          <pc:docMk/>
          <pc:sldMk cId="1030025803" sldId="2147481954"/>
        </pc:sldMkLst>
        <pc:spChg chg="add">
          <ac:chgData name="Pascal Franck Hildebert" userId="7dd13758-3f19-44a0-b6cd-02d8ba252391" providerId="ADAL" clId="{B4AF4AEE-6AA3-48DD-BE82-2B8F9CE96B75}" dt="2025-05-04T20:03:10.435" v="9"/>
          <ac:spMkLst>
            <pc:docMk/>
            <pc:sldMk cId="1030025803" sldId="2147481954"/>
            <ac:spMk id="2" creationId="{0C778EF7-A282-0711-CBAD-D5D58934D043}"/>
          </ac:spMkLst>
        </pc:spChg>
        <pc:spChg chg="add mod">
          <ac:chgData name="Pascal Franck Hildebert" userId="7dd13758-3f19-44a0-b6cd-02d8ba252391" providerId="ADAL" clId="{B4AF4AEE-6AA3-48DD-BE82-2B8F9CE96B75}" dt="2025-05-04T20:03:19.502" v="13"/>
          <ac:spMkLst>
            <pc:docMk/>
            <pc:sldMk cId="1030025803" sldId="2147481954"/>
            <ac:spMk id="3" creationId="{E343679A-2805-7DC4-6A15-109A07429C9B}"/>
          </ac:spMkLst>
        </pc:spChg>
        <pc:spChg chg="add mod">
          <ac:chgData name="Pascal Franck Hildebert" userId="7dd13758-3f19-44a0-b6cd-02d8ba252391" providerId="ADAL" clId="{B4AF4AEE-6AA3-48DD-BE82-2B8F9CE96B75}" dt="2025-05-04T20:03:19.185" v="12"/>
          <ac:spMkLst>
            <pc:docMk/>
            <pc:sldMk cId="1030025803" sldId="2147481954"/>
            <ac:spMk id="4" creationId="{192B5ADE-429E-FAFB-6533-F38DCE5DE678}"/>
          </ac:spMkLst>
        </pc:spChg>
        <pc:spChg chg="mod">
          <ac:chgData name="Pascal Franck Hildebert" userId="7dd13758-3f19-44a0-b6cd-02d8ba252391" providerId="ADAL" clId="{B4AF4AEE-6AA3-48DD-BE82-2B8F9CE96B75}" dt="2025-05-04T20:03:42.991" v="22" actId="1076"/>
          <ac:spMkLst>
            <pc:docMk/>
            <pc:sldMk cId="1030025803" sldId="2147481954"/>
            <ac:spMk id="5" creationId="{475A28F4-5710-4201-92E8-83E214ABA76C}"/>
          </ac:spMkLst>
        </pc:spChg>
        <pc:picChg chg="add mod">
          <ac:chgData name="Pascal Franck Hildebert" userId="7dd13758-3f19-44a0-b6cd-02d8ba252391" providerId="ADAL" clId="{B4AF4AEE-6AA3-48DD-BE82-2B8F9CE96B75}" dt="2025-05-04T20:03:40.801" v="21" actId="1076"/>
          <ac:picMkLst>
            <pc:docMk/>
            <pc:sldMk cId="1030025803" sldId="2147481954"/>
            <ac:picMk id="6" creationId="{2E27CAA0-7A05-4E17-3368-FEB0FB59243D}"/>
          </ac:picMkLst>
        </pc:picChg>
      </pc:sldChg>
      <pc:sldChg chg="addSp delSp modSp add del mod">
        <pc:chgData name="Pascal Franck Hildebert" userId="7dd13758-3f19-44a0-b6cd-02d8ba252391" providerId="ADAL" clId="{B4AF4AEE-6AA3-48DD-BE82-2B8F9CE96B75}" dt="2025-05-04T20:04:56.847" v="23" actId="47"/>
        <pc:sldMkLst>
          <pc:docMk/>
          <pc:sldMk cId="1658892629" sldId="2147481955"/>
        </pc:sldMkLst>
        <pc:spChg chg="del">
          <ac:chgData name="Pascal Franck Hildebert" userId="7dd13758-3f19-44a0-b6cd-02d8ba252391" providerId="ADAL" clId="{B4AF4AEE-6AA3-48DD-BE82-2B8F9CE96B75}" dt="2025-05-04T20:02:10.335" v="1" actId="478"/>
          <ac:spMkLst>
            <pc:docMk/>
            <pc:sldMk cId="1658892629" sldId="2147481955"/>
            <ac:spMk id="5" creationId="{39431DAE-FD7E-7BA9-56B0-2819BF89E7BA}"/>
          </ac:spMkLst>
        </pc:spChg>
        <pc:picChg chg="add mod">
          <ac:chgData name="Pascal Franck Hildebert" userId="7dd13758-3f19-44a0-b6cd-02d8ba252391" providerId="ADAL" clId="{B4AF4AEE-6AA3-48DD-BE82-2B8F9CE96B75}" dt="2025-05-04T20:03:35.441" v="18" actId="1076"/>
          <ac:picMkLst>
            <pc:docMk/>
            <pc:sldMk cId="1658892629" sldId="2147481955"/>
            <ac:picMk id="3" creationId="{9DE5ECE6-2E05-E0AB-22AF-DD0E9235CFE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11261872455903E-2"/>
          <c:y val="2.4738344433872503E-2"/>
          <c:w val="0.97177747625508815"/>
          <c:h val="0.950523311132254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F8B7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C8F-41C9-BBAC-B71B7F00687D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8384642</c:v>
                </c:pt>
                <c:pt idx="1">
                  <c:v>8975542.4072398227</c:v>
                </c:pt>
                <c:pt idx="2">
                  <c:v>5904131.6151853725</c:v>
                </c:pt>
                <c:pt idx="3">
                  <c:v>5650777.7593281697</c:v>
                </c:pt>
                <c:pt idx="4">
                  <c:v>5287101.333674618</c:v>
                </c:pt>
                <c:pt idx="5">
                  <c:v>5302391.2302056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F-41C9-BBAC-B71B7F0068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9610975"/>
        <c:axId val="1"/>
      </c:barChart>
      <c:catAx>
        <c:axId val="7996109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975542.40723982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996109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558172733761598E-2"/>
          <c:y val="2.5477707006369428E-2"/>
          <c:w val="0.96288365453247682"/>
          <c:h val="0.9490445859872611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19E-4373-87AB-35949B2300E0}"/>
              </c:ext>
            </c:extLst>
          </c:dPt>
          <c:dPt>
            <c:idx val="4"/>
            <c:invertIfNegative val="0"/>
            <c:bubble3D val="0"/>
            <c:spPr>
              <a:solidFill>
                <a:srgbClr val="0F8B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19E-4373-87AB-35949B2300E0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8384642</c:v>
                </c:pt>
                <c:pt idx="1">
                  <c:v>5626939.4000000004</c:v>
                </c:pt>
                <c:pt idx="2">
                  <c:v>5053216.797010025</c:v>
                </c:pt>
                <c:pt idx="3">
                  <c:v>5053216.797010025</c:v>
                </c:pt>
                <c:pt idx="4">
                  <c:v>5302391.2302056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E-4373-87AB-35949B2300E0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9F8-427D-9B44-17BA9E4E2C71}"/>
              </c:ext>
            </c:extLst>
          </c:dPt>
          <c:dPt>
            <c:idx val="3"/>
            <c:invertIfNegative val="0"/>
            <c:bubble3D val="0"/>
            <c:spPr>
              <a:solidFill>
                <a:srgbClr val="00952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19E-4373-87AB-35949B2300E0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1">
                  <c:v>2757702.5999999996</c:v>
                </c:pt>
                <c:pt idx="2">
                  <c:v>573722.60298997536</c:v>
                </c:pt>
                <c:pt idx="3">
                  <c:v>249174.4331956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9E-4373-87AB-35949B230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9619615"/>
        <c:axId val="1"/>
      </c:barChart>
      <c:catAx>
        <c:axId val="799619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846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99619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4E7ED3-64ED-4E88-9033-C908B4E377B7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290F7B-DBE4-4EAA-83D2-C591D64FD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215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A4AA9-AC26-4ED3-B241-4B014BB4481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54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290F7B-DBE4-4EAA-83D2-C591D64FD1B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611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D25CA7-D716-7220-35FC-0B77639F5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C9231C-A3DC-9DC1-7ED4-8720B70111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9930C1-19C7-ADCD-E750-D6193D1DD1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C6E40E-97BE-6A7E-EEA3-3A16ABA179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290F7B-DBE4-4EAA-83D2-C591D64FD1B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436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79FA3-22C1-AA39-4488-484996457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6A69B-78C7-2FE1-8702-B08D56B29C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A5EC3A-7DA2-15F2-5001-00EE685EFE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5283C-C8FC-BC96-32D4-4D72048F3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290F7B-DBE4-4EAA-83D2-C591D64FD1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778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4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14.pn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image" Target="../media/image4.emf"/><Relationship Id="rId9" Type="http://schemas.openxmlformats.org/officeDocument/2006/relationships/image" Target="../media/image13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15.png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1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4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FC8E71-2277-D4BF-0030-3CFD44D80FB4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795600" y="-5679"/>
            <a:ext cx="5396400" cy="6858000"/>
          </a:xfrm>
          <a:custGeom>
            <a:avLst/>
            <a:gdLst>
              <a:gd name="connsiteX0" fmla="*/ 1970237 w 5396400"/>
              <a:gd name="connsiteY0" fmla="*/ 0 h 6858000"/>
              <a:gd name="connsiteX1" fmla="*/ 5396400 w 5396400"/>
              <a:gd name="connsiteY1" fmla="*/ 0 h 6858000"/>
              <a:gd name="connsiteX2" fmla="*/ 5396400 w 5396400"/>
              <a:gd name="connsiteY2" fmla="*/ 6836948 h 6858000"/>
              <a:gd name="connsiteX3" fmla="*/ 5348271 w 5396400"/>
              <a:gd name="connsiteY3" fmla="*/ 6858000 h 6858000"/>
              <a:gd name="connsiteX4" fmla="*/ 2302830 w 5396400"/>
              <a:gd name="connsiteY4" fmla="*/ 6858000 h 6858000"/>
              <a:gd name="connsiteX5" fmla="*/ 2168296 w 5396400"/>
              <a:gd name="connsiteY5" fmla="*/ 6797179 h 6858000"/>
              <a:gd name="connsiteX6" fmla="*/ 0 w 5396400"/>
              <a:gd name="connsiteY6" fmla="*/ 3346833 h 6858000"/>
              <a:gd name="connsiteX7" fmla="*/ 1842951 w 5396400"/>
              <a:gd name="connsiteY7" fmla="*/ 731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6400" h="6858000">
                <a:moveTo>
                  <a:pt x="1970237" y="0"/>
                </a:moveTo>
                <a:lnTo>
                  <a:pt x="5396400" y="0"/>
                </a:lnTo>
                <a:lnTo>
                  <a:pt x="5396400" y="6836948"/>
                </a:lnTo>
                <a:lnTo>
                  <a:pt x="5348271" y="6858000"/>
                </a:lnTo>
                <a:lnTo>
                  <a:pt x="2302830" y="6858000"/>
                </a:lnTo>
                <a:lnTo>
                  <a:pt x="2168296" y="6797179"/>
                </a:lnTo>
                <a:cubicBezTo>
                  <a:pt x="885336" y="6178985"/>
                  <a:pt x="0" y="4866299"/>
                  <a:pt x="0" y="3346833"/>
                </a:cubicBezTo>
                <a:cubicBezTo>
                  <a:pt x="0" y="1959494"/>
                  <a:pt x="738059" y="744537"/>
                  <a:pt x="1842951" y="731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1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1CE82F-9F15-87CE-7215-64D1DB3C2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8600" y="4088656"/>
            <a:ext cx="58674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, Title</a:t>
            </a:r>
          </a:p>
        </p:txBody>
      </p:sp>
      <p:pic>
        <p:nvPicPr>
          <p:cNvPr id="46" name="Picture 45" descr="A close up of text&#10;&#10;Description automatically generated">
            <a:extLst>
              <a:ext uri="{FF2B5EF4-FFF2-40B4-BE49-F238E27FC236}">
                <a16:creationId xmlns:a16="http://schemas.microsoft.com/office/drawing/2014/main" id="{97E5878D-CC70-A573-1DA4-716C82E392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53" y="331135"/>
            <a:ext cx="2184692" cy="743395"/>
          </a:xfrm>
          <a:prstGeom prst="rect">
            <a:avLst/>
          </a:prstGeom>
        </p:spPr>
      </p:pic>
      <p:sp>
        <p:nvSpPr>
          <p:cNvPr id="67" name="Title 1">
            <a:extLst>
              <a:ext uri="{FF2B5EF4-FFF2-40B4-BE49-F238E27FC236}">
                <a16:creationId xmlns:a16="http://schemas.microsoft.com/office/drawing/2014/main" id="{73C7C0E5-2063-681B-712F-16D0C924D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8600" y="1541444"/>
            <a:ext cx="5943621" cy="2387600"/>
          </a:xfrm>
        </p:spPr>
        <p:txBody>
          <a:bodyPr anchor="b">
            <a:normAutofit/>
          </a:bodyPr>
          <a:lstStyle>
            <a:lvl1pPr algn="ctr">
              <a:defRPr sz="4800">
                <a:latin typeface="+mj-lt"/>
              </a:defRPr>
            </a:lvl1pPr>
          </a:lstStyle>
          <a:p>
            <a:r>
              <a:rPr lang="en-US" sz="4800"/>
              <a:t>PRESENTATION </a:t>
            </a:r>
            <a:br>
              <a:rPr lang="en-US" sz="4800"/>
            </a:br>
            <a:r>
              <a:rPr lang="en-US" sz="4800"/>
              <a:t>TITLE</a:t>
            </a:r>
          </a:p>
        </p:txBody>
      </p:sp>
      <p:sp>
        <p:nvSpPr>
          <p:cNvPr id="72" name="Slide Number Placeholder 71">
            <a:extLst>
              <a:ext uri="{FF2B5EF4-FFF2-40B4-BE49-F238E27FC236}">
                <a16:creationId xmlns:a16="http://schemas.microsoft.com/office/drawing/2014/main" id="{4CC3FB72-CBB9-D4A7-DDE8-F11753443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  <p:grpSp>
        <p:nvGrpSpPr>
          <p:cNvPr id="92" name="Editable shape">
            <a:extLst>
              <a:ext uri="{FF2B5EF4-FFF2-40B4-BE49-F238E27FC236}">
                <a16:creationId xmlns:a16="http://schemas.microsoft.com/office/drawing/2014/main" id="{4AE4D35A-B326-4C17-735A-32A3CB3A9223}"/>
              </a:ext>
            </a:extLst>
          </p:cNvPr>
          <p:cNvGrpSpPr>
            <a:grpSpLocks/>
          </p:cNvGrpSpPr>
          <p:nvPr userDrawn="1"/>
        </p:nvGrpSpPr>
        <p:grpSpPr>
          <a:xfrm>
            <a:off x="9083354" y="5096254"/>
            <a:ext cx="4342362" cy="2171181"/>
            <a:chOff x="9071016" y="5150712"/>
            <a:chExt cx="4342362" cy="217118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79930F5-5298-B90F-D045-208CBED4D53F}"/>
                </a:ext>
              </a:extLst>
            </p:cNvPr>
            <p:cNvSpPr>
              <a:spLocks/>
            </p:cNvSpPr>
            <p:nvPr/>
          </p:nvSpPr>
          <p:spPr>
            <a:xfrm rot="8480932">
              <a:off x="9071016" y="5150712"/>
              <a:ext cx="4342362" cy="2171181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BAC3157-875A-6350-C692-869CCDA00CBC}"/>
                </a:ext>
              </a:extLst>
            </p:cNvPr>
            <p:cNvSpPr>
              <a:spLocks/>
            </p:cNvSpPr>
            <p:nvPr/>
          </p:nvSpPr>
          <p:spPr>
            <a:xfrm rot="8480932">
              <a:off x="9301069" y="5306819"/>
              <a:ext cx="3991750" cy="199587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5808CBB-93C9-37F9-3DD9-EABEC4411C03}"/>
                </a:ext>
              </a:extLst>
            </p:cNvPr>
            <p:cNvSpPr>
              <a:spLocks/>
            </p:cNvSpPr>
            <p:nvPr/>
          </p:nvSpPr>
          <p:spPr>
            <a:xfrm rot="8480932">
              <a:off x="9531122" y="5462926"/>
              <a:ext cx="3641136" cy="1820567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1DA9510-CA8D-E36A-0358-B7FD58401FD9}"/>
                </a:ext>
              </a:extLst>
            </p:cNvPr>
            <p:cNvSpPr>
              <a:spLocks/>
            </p:cNvSpPr>
            <p:nvPr/>
          </p:nvSpPr>
          <p:spPr>
            <a:xfrm rot="8480932">
              <a:off x="9761174" y="5619033"/>
              <a:ext cx="3290524" cy="1645262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7B117F9-D3E1-F3B2-B451-132F9699F69A}"/>
                </a:ext>
              </a:extLst>
            </p:cNvPr>
            <p:cNvSpPr>
              <a:spLocks/>
            </p:cNvSpPr>
            <p:nvPr/>
          </p:nvSpPr>
          <p:spPr>
            <a:xfrm rot="8480932">
              <a:off x="9991003" y="5774990"/>
              <a:ext cx="2940251" cy="1470125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9E72612-12EA-7D62-C0AA-C34B32F6EEF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221057" y="5931096"/>
              <a:ext cx="2589638" cy="129481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246D83D-1396-7D8E-5CC1-6C166C878475}"/>
                </a:ext>
              </a:extLst>
            </p:cNvPr>
            <p:cNvSpPr>
              <a:spLocks/>
            </p:cNvSpPr>
            <p:nvPr/>
          </p:nvSpPr>
          <p:spPr>
            <a:xfrm rot="8480932">
              <a:off x="10451109" y="6087205"/>
              <a:ext cx="2239026" cy="1119511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C207DF9-1642-F51C-816E-9B7A77BCA26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681162" y="6243311"/>
              <a:ext cx="1888412" cy="944206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A3767A3C-570D-D4B3-6721-73158B526128}"/>
                </a:ext>
              </a:extLst>
            </p:cNvPr>
            <p:cNvSpPr>
              <a:spLocks/>
            </p:cNvSpPr>
            <p:nvPr/>
          </p:nvSpPr>
          <p:spPr>
            <a:xfrm rot="8480932">
              <a:off x="10911215" y="6399418"/>
              <a:ext cx="1537800" cy="768899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96E5A5-7C30-E5BD-0535-0F0BF26DE821}"/>
                </a:ext>
              </a:extLst>
            </p:cNvPr>
            <p:cNvSpPr>
              <a:spLocks/>
            </p:cNvSpPr>
            <p:nvPr/>
          </p:nvSpPr>
          <p:spPr>
            <a:xfrm rot="8480932">
              <a:off x="11141268" y="6555525"/>
              <a:ext cx="1187186" cy="593592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9BFE7BE-2DE9-D243-C056-3E0AA135FD4A}"/>
                </a:ext>
              </a:extLst>
            </p:cNvPr>
            <p:cNvSpPr>
              <a:spLocks/>
            </p:cNvSpPr>
            <p:nvPr/>
          </p:nvSpPr>
          <p:spPr>
            <a:xfrm rot="8480932">
              <a:off x="11371319" y="6711632"/>
              <a:ext cx="836574" cy="418287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E0C2D04A-7404-A44F-A152-6416D6935136}"/>
                </a:ext>
              </a:extLst>
            </p:cNvPr>
            <p:cNvSpPr>
              <a:spLocks/>
            </p:cNvSpPr>
            <p:nvPr/>
          </p:nvSpPr>
          <p:spPr>
            <a:xfrm rot="8480932">
              <a:off x="11601372" y="6867739"/>
              <a:ext cx="485960" cy="242980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0A1D64A-7FC9-7816-83F8-21D70F8F06E2}"/>
                </a:ext>
              </a:extLst>
            </p:cNvPr>
            <p:cNvSpPr>
              <a:spLocks/>
            </p:cNvSpPr>
            <p:nvPr userDrawn="1"/>
          </p:nvSpPr>
          <p:spPr>
            <a:xfrm rot="8480932">
              <a:off x="11831203" y="7023695"/>
              <a:ext cx="135687" cy="67843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7216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9040" y="2676262"/>
            <a:ext cx="6520110" cy="2168421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5390" y="4924125"/>
            <a:ext cx="6520110" cy="134332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rgbClr val="09544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A3EAE27-1074-E3B7-194C-39C4E3583EE1}"/>
              </a:ext>
            </a:extLst>
          </p:cNvPr>
          <p:cNvSpPr/>
          <p:nvPr userDrawn="1"/>
        </p:nvSpPr>
        <p:spPr>
          <a:xfrm>
            <a:off x="0" y="1"/>
            <a:ext cx="4592832" cy="6857999"/>
          </a:xfrm>
          <a:custGeom>
            <a:avLst/>
            <a:gdLst>
              <a:gd name="connsiteX0" fmla="*/ 0 w 4592832"/>
              <a:gd name="connsiteY0" fmla="*/ 0 h 6857999"/>
              <a:gd name="connsiteX1" fmla="*/ 3445046 w 4592832"/>
              <a:gd name="connsiteY1" fmla="*/ 0 h 6857999"/>
              <a:gd name="connsiteX2" fmla="*/ 3495159 w 4592832"/>
              <a:gd name="connsiteY2" fmla="*/ 62596 h 6857999"/>
              <a:gd name="connsiteX3" fmla="*/ 4592832 w 4592832"/>
              <a:gd name="connsiteY3" fmla="*/ 3254543 h 6857999"/>
              <a:gd name="connsiteX4" fmla="*/ 3161803 w 4592832"/>
              <a:gd name="connsiteY4" fmla="*/ 6846188 h 6857999"/>
              <a:gd name="connsiteX5" fmla="*/ 3150594 w 4592832"/>
              <a:gd name="connsiteY5" fmla="*/ 6857999 h 6857999"/>
              <a:gd name="connsiteX6" fmla="*/ 0 w 4592832"/>
              <a:gd name="connsiteY6" fmla="*/ 6857999 h 6857999"/>
              <a:gd name="connsiteX7" fmla="*/ 0 w 4592832"/>
              <a:gd name="connsiteY7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92832" h="6857999">
                <a:moveTo>
                  <a:pt x="0" y="0"/>
                </a:moveTo>
                <a:lnTo>
                  <a:pt x="3445046" y="0"/>
                </a:lnTo>
                <a:lnTo>
                  <a:pt x="3495159" y="62596"/>
                </a:lnTo>
                <a:cubicBezTo>
                  <a:pt x="4188173" y="973755"/>
                  <a:pt x="4592832" y="2072174"/>
                  <a:pt x="4592832" y="3254543"/>
                </a:cubicBezTo>
                <a:cubicBezTo>
                  <a:pt x="4592832" y="4615500"/>
                  <a:pt x="4056700" y="5865229"/>
                  <a:pt x="3161803" y="6846188"/>
                </a:cubicBezTo>
                <a:lnTo>
                  <a:pt x="3150594" y="6857999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rgbClr val="1A9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3" name="Graphic 10">
            <a:extLst>
              <a:ext uri="{FF2B5EF4-FFF2-40B4-BE49-F238E27FC236}">
                <a16:creationId xmlns:a16="http://schemas.microsoft.com/office/drawing/2014/main" id="{4F581023-5B22-9F3D-4B37-5BEC39C12E1E}"/>
              </a:ext>
            </a:extLst>
          </p:cNvPr>
          <p:cNvGrpSpPr/>
          <p:nvPr userDrawn="1"/>
        </p:nvGrpSpPr>
        <p:grpSpPr>
          <a:xfrm>
            <a:off x="-1295400" y="0"/>
            <a:ext cx="7704524" cy="3852262"/>
            <a:chOff x="6919912" y="3216683"/>
            <a:chExt cx="2628900" cy="1314450"/>
          </a:xfrm>
          <a:noFill/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3D49669-019D-2A27-1CA8-7D710FF27C2F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4D18EB4-8BCD-DC81-8214-C41349C388C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BAEF079-5D03-3A0D-6546-43878CD9E276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B1DD442-76FD-0797-A229-04E63328F038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53681E3-D3F3-2C0E-F668-B8FED034EA71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956EEFD-2D94-1391-E111-EED006548E36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318657F-A0B6-C63A-935B-FC6812D7E71E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FA585-BFB8-6441-6EEB-984E13EAECCC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AD4C74C-26BA-767A-95C4-2B5C1E64F04B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FCE26CB-E8FE-A321-894F-F0938A90E9B1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A5315E0-A07B-6661-11B7-D4C3D9B47D3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BCB2ED9-9C20-66E5-72CD-41A3BB0AF87C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E747663-B550-3A51-B944-9C5EB1CDCB8B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8A91FA7-0BDE-2DE5-60F6-30C76BAD86D6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A378801-85C3-B2F3-74CC-A4002E4349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563222" cy="6858000"/>
          </a:xfrm>
          <a:custGeom>
            <a:avLst/>
            <a:gdLst>
              <a:gd name="connsiteX0" fmla="*/ 0 w 3563222"/>
              <a:gd name="connsiteY0" fmla="*/ 0 h 6858000"/>
              <a:gd name="connsiteX1" fmla="*/ 1985024 w 3563222"/>
              <a:gd name="connsiteY1" fmla="*/ 0 h 6858000"/>
              <a:gd name="connsiteX2" fmla="*/ 2049193 w 3563222"/>
              <a:gd name="connsiteY2" fmla="*/ 46663 h 6858000"/>
              <a:gd name="connsiteX3" fmla="*/ 3563222 w 3563222"/>
              <a:gd name="connsiteY3" fmla="*/ 3276654 h 6858000"/>
              <a:gd name="connsiteX4" fmla="*/ 1617989 w 3563222"/>
              <a:gd name="connsiteY4" fmla="*/ 6787777 h 6858000"/>
              <a:gd name="connsiteX5" fmla="*/ 1481052 w 3563222"/>
              <a:gd name="connsiteY5" fmla="*/ 6858000 h 6858000"/>
              <a:gd name="connsiteX6" fmla="*/ 0 w 356322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63222" h="6858000">
                <a:moveTo>
                  <a:pt x="0" y="0"/>
                </a:moveTo>
                <a:lnTo>
                  <a:pt x="1985024" y="0"/>
                </a:lnTo>
                <a:lnTo>
                  <a:pt x="2049193" y="46663"/>
                </a:lnTo>
                <a:cubicBezTo>
                  <a:pt x="2962650" y="746665"/>
                  <a:pt x="3563222" y="1932105"/>
                  <a:pt x="3563222" y="3276654"/>
                </a:cubicBezTo>
                <a:cubicBezTo>
                  <a:pt x="3563222" y="4822886"/>
                  <a:pt x="2768965" y="6158695"/>
                  <a:pt x="1617989" y="6787777"/>
                </a:cubicBezTo>
                <a:lnTo>
                  <a:pt x="14810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65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FEE16-271E-776F-646A-A2497EC86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</a:t>
            </a:r>
          </a:p>
        </p:txBody>
      </p:sp>
      <p:grpSp>
        <p:nvGrpSpPr>
          <p:cNvPr id="4" name="Graphic 10">
            <a:extLst>
              <a:ext uri="{FF2B5EF4-FFF2-40B4-BE49-F238E27FC236}">
                <a16:creationId xmlns:a16="http://schemas.microsoft.com/office/drawing/2014/main" id="{0B8FE53A-BE97-9649-F37D-BA4070CA6FDB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165C061-2544-4F23-E1D3-91A5625E2206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82C804F-B4FA-E39D-4945-6111E3282DAB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467C02D-A776-7C2E-4854-E18598E062D0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2B322C1-1D8E-BCFA-74C3-31C774E003BF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BEE1E2-22EE-413C-BF13-2F73EE8F5545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AA060AA-B82C-9037-1F84-0E826D48DA30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2678806-9603-07E9-8EFC-79B88361C87D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0D5F9F-A870-AF9B-CA64-8FB17BF67ED5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02AA79F-C158-7D47-CED3-7CEDD29F1876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CCBAF6A-93B4-743D-AE30-11B6F0EAB78E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F090FE4-834D-7E18-C770-39C6B0BBE57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474850-82EC-D26B-2ABF-C0D906AF316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350680-72E3-2C93-FC13-89D766A68E01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DC84C52-0008-950A-F030-F448D9684F12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AE691651-16A3-CF3D-757B-2BC158F74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49B0B463-9E92-2457-E460-904456F421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2F2A0C94-7915-6181-9387-19F3AFCBE6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9392875-79B8-2694-F13F-9EF8F339FB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6DA4D8A-707C-46E3-AE54-67BE14DE16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5574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B17F4-A3FA-4BDC-C3E2-F16360D81A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C4420-CBDB-C6EC-DE33-DE14756FFA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8432" y="1536699"/>
            <a:ext cx="11032068" cy="43307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grpSp>
        <p:nvGrpSpPr>
          <p:cNvPr id="21" name="Graphic 10">
            <a:extLst>
              <a:ext uri="{FF2B5EF4-FFF2-40B4-BE49-F238E27FC236}">
                <a16:creationId xmlns:a16="http://schemas.microsoft.com/office/drawing/2014/main" id="{41EB940A-F2B7-039B-D29D-666E6B4638F1}"/>
              </a:ext>
            </a:extLst>
          </p:cNvPr>
          <p:cNvGrpSpPr/>
          <p:nvPr userDrawn="1"/>
        </p:nvGrpSpPr>
        <p:grpSpPr>
          <a:xfrm rot="3186376">
            <a:off x="5596108" y="-588768"/>
            <a:ext cx="9055991" cy="4527996"/>
            <a:chOff x="6919912" y="3216683"/>
            <a:chExt cx="2628900" cy="1314450"/>
          </a:xfrm>
          <a:noFill/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94A4EB7-089C-4C54-E3CE-E0E28BFB967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087FCB1-EC36-29B8-F5E7-07FC9B973E54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16AAFAE-002A-8C9F-6519-1669ACE97043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9E9E3FF-4F50-99C9-A394-8B0A441A0A46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B25F6A5-0D6E-6332-A9EA-904E8317871D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A626D6F-13AA-88F0-7580-382F5E9DCD02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8543CA7-F10A-C9D4-72E6-1CF07605298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8BFC4D1-13B9-5DA9-D3BE-3473619D1587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F3310C3-B01A-B57E-9B1B-986C2760E587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8EB4A0F-7F27-E0E4-CABD-CB3AC7C806A1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9BBC305-29FF-A2BC-ABE3-DC2F1FD1217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3C278D-8189-2ED1-7EAC-23F48FFECCAB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AA3F4AF-5CCF-E5B0-6906-D66239C36083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74852B1-D4E3-2C2B-05C7-002F15CC0DAA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054E7744-0558-5804-3316-21DA14D5AC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44" name="Date Placeholder 43">
            <a:extLst>
              <a:ext uri="{FF2B5EF4-FFF2-40B4-BE49-F238E27FC236}">
                <a16:creationId xmlns:a16="http://schemas.microsoft.com/office/drawing/2014/main" id="{21CF785F-45A2-FE7D-19F4-B7166357E5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5" name="Footer Placeholder 44">
            <a:extLst>
              <a:ext uri="{FF2B5EF4-FFF2-40B4-BE49-F238E27FC236}">
                <a16:creationId xmlns:a16="http://schemas.microsoft.com/office/drawing/2014/main" id="{73549E7E-E23F-F049-45A3-BC2EB52233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D2FCC492-13DB-0DC0-B8AD-2D4B3C6490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7467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28B42-5C89-CE53-3D5E-B9C42DF5C8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2" y="386291"/>
            <a:ext cx="11032068" cy="89858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7F1875-F5A3-7FA8-F9BB-EA64FD352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432" y="1347443"/>
            <a:ext cx="3440113" cy="4635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1FA29C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6" name="Graphic 10">
            <a:extLst>
              <a:ext uri="{FF2B5EF4-FFF2-40B4-BE49-F238E27FC236}">
                <a16:creationId xmlns:a16="http://schemas.microsoft.com/office/drawing/2014/main" id="{3E29288C-440E-B2B6-5153-528E0326D58F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01012EC-AF50-7DA2-2B7E-58E1795B59CD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7AE3A9D-3205-D3F3-02B5-06EECF642C6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1B9C583-8EEC-D199-3C1C-FBE103D1EAEC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62966F-D97B-EAB5-D858-CE5BBBD8B39C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610B446-6438-AF2E-6165-90429607C4D0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D3BD1-453A-474A-139F-28134707AF6B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0A90EAB-F07A-D5F2-D7BF-9C3532E249C5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A7001F5-E038-F552-456F-C3A9583C6294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76EA3E6-DEA6-1106-B313-C11DB4074F8E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C5C1A6A-B9EC-C407-2FB8-80519992067B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FF1682A-1467-DC20-1CE2-B74A1D5C7C05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75F4D14-069E-B8EF-C88E-77106226D5E3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82DC930-E848-7629-EFC7-D3EA8D13861D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CDFD0CC-5B3B-00A8-4107-05FBC29AC3F4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49" name="Content Placeholder 48">
            <a:extLst>
              <a:ext uri="{FF2B5EF4-FFF2-40B4-BE49-F238E27FC236}">
                <a16:creationId xmlns:a16="http://schemas.microsoft.com/office/drawing/2014/main" id="{5B58E6D5-A3F5-69CF-6CA8-9C021CEC5BE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1025" y="1810993"/>
            <a:ext cx="11044238" cy="4056407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E52575A-B2E0-A07D-BF73-8128CC512B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5" name="Date Placeholder 54">
            <a:extLst>
              <a:ext uri="{FF2B5EF4-FFF2-40B4-BE49-F238E27FC236}">
                <a16:creationId xmlns:a16="http://schemas.microsoft.com/office/drawing/2014/main" id="{3B247A33-92EC-75A3-3521-617A25BE79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6" name="Footer Placeholder 55">
            <a:extLst>
              <a:ext uri="{FF2B5EF4-FFF2-40B4-BE49-F238E27FC236}">
                <a16:creationId xmlns:a16="http://schemas.microsoft.com/office/drawing/2014/main" id="{90AF03BE-13BF-3231-3781-1799D60F32E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8538E561-24EF-7290-CF40-64BDF688F2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6DA4D8A-707C-46E3-AE54-67BE14DE16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030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FC8E71-2277-D4BF-0030-3CFD44D80FB4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795600" y="-5679"/>
            <a:ext cx="5396400" cy="6858000"/>
          </a:xfrm>
          <a:custGeom>
            <a:avLst/>
            <a:gdLst>
              <a:gd name="connsiteX0" fmla="*/ 1970237 w 5396400"/>
              <a:gd name="connsiteY0" fmla="*/ 0 h 6858000"/>
              <a:gd name="connsiteX1" fmla="*/ 5396400 w 5396400"/>
              <a:gd name="connsiteY1" fmla="*/ 0 h 6858000"/>
              <a:gd name="connsiteX2" fmla="*/ 5396400 w 5396400"/>
              <a:gd name="connsiteY2" fmla="*/ 6836948 h 6858000"/>
              <a:gd name="connsiteX3" fmla="*/ 5348271 w 5396400"/>
              <a:gd name="connsiteY3" fmla="*/ 6858000 h 6858000"/>
              <a:gd name="connsiteX4" fmla="*/ 2302830 w 5396400"/>
              <a:gd name="connsiteY4" fmla="*/ 6858000 h 6858000"/>
              <a:gd name="connsiteX5" fmla="*/ 2168296 w 5396400"/>
              <a:gd name="connsiteY5" fmla="*/ 6797179 h 6858000"/>
              <a:gd name="connsiteX6" fmla="*/ 0 w 5396400"/>
              <a:gd name="connsiteY6" fmla="*/ 3346833 h 6858000"/>
              <a:gd name="connsiteX7" fmla="*/ 1842951 w 5396400"/>
              <a:gd name="connsiteY7" fmla="*/ 731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6400" h="6858000">
                <a:moveTo>
                  <a:pt x="1970237" y="0"/>
                </a:moveTo>
                <a:lnTo>
                  <a:pt x="5396400" y="0"/>
                </a:lnTo>
                <a:lnTo>
                  <a:pt x="5396400" y="6836948"/>
                </a:lnTo>
                <a:lnTo>
                  <a:pt x="5348271" y="6858000"/>
                </a:lnTo>
                <a:lnTo>
                  <a:pt x="2302830" y="6858000"/>
                </a:lnTo>
                <a:lnTo>
                  <a:pt x="2168296" y="6797179"/>
                </a:lnTo>
                <a:cubicBezTo>
                  <a:pt x="885336" y="6178985"/>
                  <a:pt x="0" y="4866299"/>
                  <a:pt x="0" y="3346833"/>
                </a:cubicBezTo>
                <a:cubicBezTo>
                  <a:pt x="0" y="1959494"/>
                  <a:pt x="738059" y="744537"/>
                  <a:pt x="1842951" y="731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1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1CE82F-9F15-87CE-7215-64D1DB3C2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8600" y="4088656"/>
            <a:ext cx="58674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, Title</a:t>
            </a:r>
          </a:p>
        </p:txBody>
      </p:sp>
      <p:pic>
        <p:nvPicPr>
          <p:cNvPr id="46" name="Picture 45" descr="A close up of text&#10;&#10;Description automatically generated">
            <a:extLst>
              <a:ext uri="{FF2B5EF4-FFF2-40B4-BE49-F238E27FC236}">
                <a16:creationId xmlns:a16="http://schemas.microsoft.com/office/drawing/2014/main" id="{97E5878D-CC70-A573-1DA4-716C82E392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53" y="331135"/>
            <a:ext cx="2184692" cy="743395"/>
          </a:xfrm>
          <a:prstGeom prst="rect">
            <a:avLst/>
          </a:prstGeom>
        </p:spPr>
      </p:pic>
      <p:sp>
        <p:nvSpPr>
          <p:cNvPr id="67" name="Title 1">
            <a:extLst>
              <a:ext uri="{FF2B5EF4-FFF2-40B4-BE49-F238E27FC236}">
                <a16:creationId xmlns:a16="http://schemas.microsoft.com/office/drawing/2014/main" id="{73C7C0E5-2063-681B-712F-16D0C924D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8600" y="1541444"/>
            <a:ext cx="5943621" cy="2387600"/>
          </a:xfrm>
        </p:spPr>
        <p:txBody>
          <a:bodyPr anchor="b">
            <a:normAutofit/>
          </a:bodyPr>
          <a:lstStyle>
            <a:lvl1pPr algn="ctr">
              <a:defRPr sz="4800">
                <a:latin typeface="+mj-lt"/>
              </a:defRPr>
            </a:lvl1pPr>
          </a:lstStyle>
          <a:p>
            <a:r>
              <a:rPr lang="en-US" sz="4800"/>
              <a:t>PRESENTATION </a:t>
            </a:r>
            <a:br>
              <a:rPr lang="en-US" sz="4800"/>
            </a:br>
            <a:r>
              <a:rPr lang="en-US" sz="4800"/>
              <a:t>TITLE</a:t>
            </a:r>
          </a:p>
        </p:txBody>
      </p:sp>
      <p:sp>
        <p:nvSpPr>
          <p:cNvPr id="72" name="Slide Number Placeholder 71">
            <a:extLst>
              <a:ext uri="{FF2B5EF4-FFF2-40B4-BE49-F238E27FC236}">
                <a16:creationId xmlns:a16="http://schemas.microsoft.com/office/drawing/2014/main" id="{4CC3FB72-CBB9-D4A7-DDE8-F11753443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  <p:grpSp>
        <p:nvGrpSpPr>
          <p:cNvPr id="92" name="Editable shape">
            <a:extLst>
              <a:ext uri="{FF2B5EF4-FFF2-40B4-BE49-F238E27FC236}">
                <a16:creationId xmlns:a16="http://schemas.microsoft.com/office/drawing/2014/main" id="{4AE4D35A-B326-4C17-735A-32A3CB3A9223}"/>
              </a:ext>
            </a:extLst>
          </p:cNvPr>
          <p:cNvGrpSpPr>
            <a:grpSpLocks/>
          </p:cNvGrpSpPr>
          <p:nvPr userDrawn="1"/>
        </p:nvGrpSpPr>
        <p:grpSpPr>
          <a:xfrm>
            <a:off x="9083354" y="5096254"/>
            <a:ext cx="4342362" cy="2171181"/>
            <a:chOff x="9071016" y="5150712"/>
            <a:chExt cx="4342362" cy="217118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79930F5-5298-B90F-D045-208CBED4D53F}"/>
                </a:ext>
              </a:extLst>
            </p:cNvPr>
            <p:cNvSpPr>
              <a:spLocks/>
            </p:cNvSpPr>
            <p:nvPr/>
          </p:nvSpPr>
          <p:spPr>
            <a:xfrm rot="8480932">
              <a:off x="9071016" y="5150712"/>
              <a:ext cx="4342362" cy="2171181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BAC3157-875A-6350-C692-869CCDA00CBC}"/>
                </a:ext>
              </a:extLst>
            </p:cNvPr>
            <p:cNvSpPr>
              <a:spLocks/>
            </p:cNvSpPr>
            <p:nvPr/>
          </p:nvSpPr>
          <p:spPr>
            <a:xfrm rot="8480932">
              <a:off x="9301069" y="5306819"/>
              <a:ext cx="3991750" cy="199587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5808CBB-93C9-37F9-3DD9-EABEC4411C03}"/>
                </a:ext>
              </a:extLst>
            </p:cNvPr>
            <p:cNvSpPr>
              <a:spLocks/>
            </p:cNvSpPr>
            <p:nvPr/>
          </p:nvSpPr>
          <p:spPr>
            <a:xfrm rot="8480932">
              <a:off x="9531122" y="5462926"/>
              <a:ext cx="3641136" cy="1820567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1DA9510-CA8D-E36A-0358-B7FD58401FD9}"/>
                </a:ext>
              </a:extLst>
            </p:cNvPr>
            <p:cNvSpPr>
              <a:spLocks/>
            </p:cNvSpPr>
            <p:nvPr/>
          </p:nvSpPr>
          <p:spPr>
            <a:xfrm rot="8480932">
              <a:off x="9761174" y="5619033"/>
              <a:ext cx="3290524" cy="1645262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7B117F9-D3E1-F3B2-B451-132F9699F69A}"/>
                </a:ext>
              </a:extLst>
            </p:cNvPr>
            <p:cNvSpPr>
              <a:spLocks/>
            </p:cNvSpPr>
            <p:nvPr/>
          </p:nvSpPr>
          <p:spPr>
            <a:xfrm rot="8480932">
              <a:off x="9991003" y="5774990"/>
              <a:ext cx="2940251" cy="1470125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9E72612-12EA-7D62-C0AA-C34B32F6EEF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221057" y="5931096"/>
              <a:ext cx="2589638" cy="129481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246D83D-1396-7D8E-5CC1-6C166C878475}"/>
                </a:ext>
              </a:extLst>
            </p:cNvPr>
            <p:cNvSpPr>
              <a:spLocks/>
            </p:cNvSpPr>
            <p:nvPr/>
          </p:nvSpPr>
          <p:spPr>
            <a:xfrm rot="8480932">
              <a:off x="10451109" y="6087205"/>
              <a:ext cx="2239026" cy="1119511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C207DF9-1642-F51C-816E-9B7A77BCA26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681162" y="6243311"/>
              <a:ext cx="1888412" cy="944206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A3767A3C-570D-D4B3-6721-73158B526128}"/>
                </a:ext>
              </a:extLst>
            </p:cNvPr>
            <p:cNvSpPr>
              <a:spLocks/>
            </p:cNvSpPr>
            <p:nvPr/>
          </p:nvSpPr>
          <p:spPr>
            <a:xfrm rot="8480932">
              <a:off x="10911215" y="6399418"/>
              <a:ext cx="1537800" cy="768899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96E5A5-7C30-E5BD-0535-0F0BF26DE821}"/>
                </a:ext>
              </a:extLst>
            </p:cNvPr>
            <p:cNvSpPr>
              <a:spLocks/>
            </p:cNvSpPr>
            <p:nvPr/>
          </p:nvSpPr>
          <p:spPr>
            <a:xfrm rot="8480932">
              <a:off x="11141268" y="6555525"/>
              <a:ext cx="1187186" cy="593592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9BFE7BE-2DE9-D243-C056-3E0AA135FD4A}"/>
                </a:ext>
              </a:extLst>
            </p:cNvPr>
            <p:cNvSpPr>
              <a:spLocks/>
            </p:cNvSpPr>
            <p:nvPr/>
          </p:nvSpPr>
          <p:spPr>
            <a:xfrm rot="8480932">
              <a:off x="11371319" y="6711632"/>
              <a:ext cx="836574" cy="418287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E0C2D04A-7404-A44F-A152-6416D6935136}"/>
                </a:ext>
              </a:extLst>
            </p:cNvPr>
            <p:cNvSpPr>
              <a:spLocks/>
            </p:cNvSpPr>
            <p:nvPr/>
          </p:nvSpPr>
          <p:spPr>
            <a:xfrm rot="8480932">
              <a:off x="11601372" y="6867739"/>
              <a:ext cx="485960" cy="242980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0A1D64A-7FC9-7816-83F8-21D70F8F06E2}"/>
                </a:ext>
              </a:extLst>
            </p:cNvPr>
            <p:cNvSpPr>
              <a:spLocks/>
            </p:cNvSpPr>
            <p:nvPr userDrawn="1"/>
          </p:nvSpPr>
          <p:spPr>
            <a:xfrm rot="8480932">
              <a:off x="11831203" y="7023695"/>
              <a:ext cx="135687" cy="67843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2451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5CEFB-B7BD-BBD3-9F7B-24928F18C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06477" y="2127380"/>
            <a:ext cx="3657601" cy="417126"/>
          </a:xfrm>
        </p:spPr>
        <p:txBody>
          <a:bodyPr>
            <a:normAutofit/>
          </a:bodyPr>
          <a:lstStyle>
            <a:lvl1pPr>
              <a:defRPr sz="2800">
                <a:solidFill>
                  <a:srgbClr val="09544F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99D933-5A17-3BB3-EE08-E4F5DE2D44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28600" y="6412385"/>
            <a:ext cx="457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B5E16F-1BA1-013D-3D1A-4092FC3F8C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88588" y="2740843"/>
            <a:ext cx="3317957" cy="3469253"/>
          </a:xfrm>
          <a:noFill/>
        </p:spPr>
        <p:txBody>
          <a:bodyPr>
            <a:normAutofit/>
          </a:bodyPr>
          <a:lstStyle>
            <a:lvl1pPr marL="301752" indent="-283464">
              <a:lnSpc>
                <a:spcPct val="150000"/>
              </a:lnSpc>
              <a:spcBef>
                <a:spcPts val="520"/>
              </a:spcBef>
              <a:buClr>
                <a:srgbClr val="0C716B"/>
              </a:buClr>
              <a:buFont typeface="+mj-lt"/>
              <a:buAutoNum type="arabicPeriod"/>
              <a:defRPr sz="1600" b="0">
                <a:solidFill>
                  <a:srgbClr val="0C716B"/>
                </a:solidFill>
                <a:latin typeface="+mj-lt"/>
              </a:defRPr>
            </a:lvl1pPr>
            <a:lvl2pPr marL="457200" indent="-173736"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2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0"/>
            <a:r>
              <a:rPr lang="en-US"/>
              <a:t>Text </a:t>
            </a:r>
          </a:p>
          <a:p>
            <a:pPr lvl="1"/>
            <a:r>
              <a:rPr lang="en-US"/>
              <a:t>Text</a:t>
            </a:r>
          </a:p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B515E60-37A9-BE49-E9D6-25C745CC1D95}"/>
              </a:ext>
            </a:extLst>
          </p:cNvPr>
          <p:cNvCxnSpPr>
            <a:cxnSpLocks/>
          </p:cNvCxnSpPr>
          <p:nvPr userDrawn="1"/>
        </p:nvCxnSpPr>
        <p:spPr>
          <a:xfrm>
            <a:off x="7583826" y="2621381"/>
            <a:ext cx="3594857" cy="0"/>
          </a:xfrm>
          <a:prstGeom prst="line">
            <a:avLst/>
          </a:prstGeom>
          <a:ln w="12700">
            <a:solidFill>
              <a:srgbClr val="D0CB1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D4032AD-6C18-DE51-7EFE-72E1271BE1D8}"/>
              </a:ext>
            </a:extLst>
          </p:cNvPr>
          <p:cNvSpPr txBox="1">
            <a:spLocks/>
          </p:cNvSpPr>
          <p:nvPr userDrawn="1"/>
        </p:nvSpPr>
        <p:spPr>
          <a:xfrm>
            <a:off x="228600" y="6409348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00" b="0" i="0" u="none" strike="noStrike" cap="none">
                <a:solidFill>
                  <a:srgbClr val="09544F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8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3CB8842-5585-4CCB-8886-AD250089CB5B}"/>
              </a:ext>
            </a:extLst>
          </p:cNvPr>
          <p:cNvSpPr/>
          <p:nvPr userDrawn="1"/>
        </p:nvSpPr>
        <p:spPr>
          <a:xfrm>
            <a:off x="-16057" y="0"/>
            <a:ext cx="6604230" cy="6858000"/>
          </a:xfrm>
          <a:custGeom>
            <a:avLst/>
            <a:gdLst>
              <a:gd name="connsiteX0" fmla="*/ 16056 w 6604230"/>
              <a:gd name="connsiteY0" fmla="*/ 0 h 6858000"/>
              <a:gd name="connsiteX1" fmla="*/ 5097681 w 6604230"/>
              <a:gd name="connsiteY1" fmla="*/ 0 h 6858000"/>
              <a:gd name="connsiteX2" fmla="*/ 5240158 w 6604230"/>
              <a:gd name="connsiteY2" fmla="*/ 135839 h 6858000"/>
              <a:gd name="connsiteX3" fmla="*/ 6604230 w 6604230"/>
              <a:gd name="connsiteY3" fmla="*/ 3429001 h 6858000"/>
              <a:gd name="connsiteX4" fmla="*/ 5240158 w 6604230"/>
              <a:gd name="connsiteY4" fmla="*/ 6722163 h 6858000"/>
              <a:gd name="connsiteX5" fmla="*/ 5097683 w 6604230"/>
              <a:gd name="connsiteY5" fmla="*/ 6858000 h 6858000"/>
              <a:gd name="connsiteX6" fmla="*/ 16056 w 6604230"/>
              <a:gd name="connsiteY6" fmla="*/ 6858000 h 6858000"/>
              <a:gd name="connsiteX7" fmla="*/ 16056 w 6604230"/>
              <a:gd name="connsiteY7" fmla="*/ 6470245 h 6858000"/>
              <a:gd name="connsiteX8" fmla="*/ 0 w 6604230"/>
              <a:gd name="connsiteY8" fmla="*/ 6470245 h 6858000"/>
              <a:gd name="connsiteX9" fmla="*/ 0 w 6604230"/>
              <a:gd name="connsiteY9" fmla="*/ 396612 h 6858000"/>
              <a:gd name="connsiteX10" fmla="*/ 16056 w 6604230"/>
              <a:gd name="connsiteY10" fmla="*/ 3966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04230" h="6858000">
                <a:moveTo>
                  <a:pt x="16056" y="0"/>
                </a:moveTo>
                <a:lnTo>
                  <a:pt x="5097681" y="0"/>
                </a:lnTo>
                <a:lnTo>
                  <a:pt x="5240158" y="135839"/>
                </a:lnTo>
                <a:cubicBezTo>
                  <a:pt x="6082952" y="978633"/>
                  <a:pt x="6604230" y="2142942"/>
                  <a:pt x="6604230" y="3429001"/>
                </a:cubicBezTo>
                <a:cubicBezTo>
                  <a:pt x="6604230" y="4715061"/>
                  <a:pt x="6082952" y="5879369"/>
                  <a:pt x="5240158" y="6722163"/>
                </a:cubicBezTo>
                <a:lnTo>
                  <a:pt x="5097683" y="6858000"/>
                </a:lnTo>
                <a:lnTo>
                  <a:pt x="16056" y="6858000"/>
                </a:lnTo>
                <a:lnTo>
                  <a:pt x="16056" y="6470245"/>
                </a:lnTo>
                <a:lnTo>
                  <a:pt x="0" y="6470245"/>
                </a:lnTo>
                <a:lnTo>
                  <a:pt x="0" y="396612"/>
                </a:lnTo>
                <a:lnTo>
                  <a:pt x="16056" y="396612"/>
                </a:lnTo>
                <a:close/>
              </a:path>
            </a:pathLst>
          </a:custGeom>
          <a:solidFill>
            <a:srgbClr val="09544F"/>
          </a:solidFill>
        </p:spPr>
        <p:txBody>
          <a:bodyPr wrap="square" lIns="182880" tIns="457200" rIns="18288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FA19C"/>
              </a:buClr>
              <a:buSzTx/>
              <a:buFont typeface="Arial" panose="020B0604020202020204" pitchFamily="34" charset="0"/>
              <a:buChar char="•"/>
              <a:tabLst>
                <a:tab pos="756285" algn="l"/>
              </a:tabLst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1E447BE-4B7B-C381-35B8-9C5148AFE1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6055" y="277716"/>
            <a:ext cx="5323109" cy="6326958"/>
          </a:xfrm>
          <a:custGeom>
            <a:avLst/>
            <a:gdLst>
              <a:gd name="connsiteX0" fmla="*/ 2192902 w 5323109"/>
              <a:gd name="connsiteY0" fmla="*/ 0 h 6326958"/>
              <a:gd name="connsiteX1" fmla="*/ 5323109 w 5323109"/>
              <a:gd name="connsiteY1" fmla="*/ 3163479 h 6326958"/>
              <a:gd name="connsiteX2" fmla="*/ 2192902 w 5323109"/>
              <a:gd name="connsiteY2" fmla="*/ 6326958 h 6326958"/>
              <a:gd name="connsiteX3" fmla="*/ 201799 w 5323109"/>
              <a:gd name="connsiteY3" fmla="*/ 5604573 h 6326958"/>
              <a:gd name="connsiteX4" fmla="*/ 0 w 5323109"/>
              <a:gd name="connsiteY4" fmla="*/ 5419216 h 6326958"/>
              <a:gd name="connsiteX5" fmla="*/ 0 w 5323109"/>
              <a:gd name="connsiteY5" fmla="*/ 907742 h 6326958"/>
              <a:gd name="connsiteX6" fmla="*/ 201799 w 5323109"/>
              <a:gd name="connsiteY6" fmla="*/ 722385 h 6326958"/>
              <a:gd name="connsiteX7" fmla="*/ 2192902 w 5323109"/>
              <a:gd name="connsiteY7" fmla="*/ 0 h 6326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3109" h="6326958">
                <a:moveTo>
                  <a:pt x="2192902" y="0"/>
                </a:moveTo>
                <a:cubicBezTo>
                  <a:pt x="3921667" y="0"/>
                  <a:pt x="5323109" y="1416338"/>
                  <a:pt x="5323109" y="3163479"/>
                </a:cubicBezTo>
                <a:cubicBezTo>
                  <a:pt x="5323109" y="4910620"/>
                  <a:pt x="3921667" y="6326958"/>
                  <a:pt x="2192902" y="6326958"/>
                </a:cubicBezTo>
                <a:cubicBezTo>
                  <a:pt x="1436567" y="6326958"/>
                  <a:pt x="742884" y="6055862"/>
                  <a:pt x="201799" y="5604573"/>
                </a:cubicBezTo>
                <a:lnTo>
                  <a:pt x="0" y="5419216"/>
                </a:lnTo>
                <a:lnTo>
                  <a:pt x="0" y="907742"/>
                </a:lnTo>
                <a:lnTo>
                  <a:pt x="201799" y="722385"/>
                </a:lnTo>
                <a:cubicBezTo>
                  <a:pt x="742884" y="271096"/>
                  <a:pt x="1436567" y="0"/>
                  <a:pt x="219290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grpSp>
        <p:nvGrpSpPr>
          <p:cNvPr id="20" name="Editable shape">
            <a:extLst>
              <a:ext uri="{FF2B5EF4-FFF2-40B4-BE49-F238E27FC236}">
                <a16:creationId xmlns:a16="http://schemas.microsoft.com/office/drawing/2014/main" id="{D3D08175-1CB6-CACB-AEC6-54C7A571EFF6}"/>
              </a:ext>
            </a:extLst>
          </p:cNvPr>
          <p:cNvGrpSpPr/>
          <p:nvPr userDrawn="1"/>
        </p:nvGrpSpPr>
        <p:grpSpPr>
          <a:xfrm rot="10954543">
            <a:off x="-566204" y="4596699"/>
            <a:ext cx="7704524" cy="3852262"/>
            <a:chOff x="6919912" y="3216683"/>
            <a:chExt cx="2628900" cy="1314450"/>
          </a:xfrm>
          <a:noFill/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62DFF72-26CA-4188-2BBC-86DD9B3F1D59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0D3046-3F8A-CF09-9726-46B65708034E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5F2584C-B38B-6EC1-0F31-54F87F310898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11DE6E3-3CE8-296E-8C18-AC27718E3C4A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C9D749C-2123-8F80-9D9F-87A46ACD614D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B2C2EB6-6BF9-FD23-DC91-341210A9D73E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5834B63-60F6-9DBE-3F07-0141DD7E91C8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AC52D4-9828-B2AC-168E-9C70C24855B1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555F1E2-6E5F-7655-529F-6C49DD4DD3BB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4D0B130-264B-7A5A-DE20-52F3DC9561D5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E10505C-A25E-2BF0-259E-EBA40CD5334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F975541-8129-43E1-D9EA-89C65F6F9390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91D688C-F178-8AC9-1479-585BF2EBC192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A5CF28D-7942-DD21-185D-59152ACB7FEA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7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7038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1D186-5401-0725-BCBA-C80AE24623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BE4DB841-A57D-49A5-43C4-38BB593E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FFFF5E47-AD50-52FB-87DF-8C721D435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B3489BCA-9A61-F022-F9C8-1A09CB67F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65933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B17F4-A3FA-4BDC-C3E2-F16360D81A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C4420-CBDB-C6EC-DE33-DE14756FFA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8432" y="1536699"/>
            <a:ext cx="11015136" cy="433070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735388E-BEAC-9C9D-7B6A-AE9F097B5DDE}"/>
              </a:ext>
            </a:extLst>
          </p:cNvPr>
          <p:cNvCxnSpPr>
            <a:cxnSpLocks/>
          </p:cNvCxnSpPr>
          <p:nvPr userDrawn="1"/>
        </p:nvCxnSpPr>
        <p:spPr>
          <a:xfrm>
            <a:off x="699949" y="1114159"/>
            <a:ext cx="8504767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11C24D66-1F12-2B4D-91D0-1D03FC58F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905626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47" name="Date Placeholder 46">
            <a:extLst>
              <a:ext uri="{FF2B5EF4-FFF2-40B4-BE49-F238E27FC236}">
                <a16:creationId xmlns:a16="http://schemas.microsoft.com/office/drawing/2014/main" id="{F2CBF55A-9826-A347-A9CB-DD61EDE5BB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11C47607-DEA1-FDD2-E178-F935F200E7C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19307C61-7CCB-01D3-2873-04EF4F07D4D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0958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B17F4-A3FA-4BDC-C3E2-F16360D81A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C4420-CBDB-C6EC-DE33-DE14756FFA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8432" y="1536699"/>
            <a:ext cx="11032068" cy="43307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grpSp>
        <p:nvGrpSpPr>
          <p:cNvPr id="21" name="Graphic 10">
            <a:extLst>
              <a:ext uri="{FF2B5EF4-FFF2-40B4-BE49-F238E27FC236}">
                <a16:creationId xmlns:a16="http://schemas.microsoft.com/office/drawing/2014/main" id="{41EB940A-F2B7-039B-D29D-666E6B4638F1}"/>
              </a:ext>
            </a:extLst>
          </p:cNvPr>
          <p:cNvGrpSpPr/>
          <p:nvPr userDrawn="1"/>
        </p:nvGrpSpPr>
        <p:grpSpPr>
          <a:xfrm rot="3186376">
            <a:off x="5596108" y="-588768"/>
            <a:ext cx="9055991" cy="4527996"/>
            <a:chOff x="6919912" y="3216683"/>
            <a:chExt cx="2628900" cy="1314450"/>
          </a:xfrm>
          <a:noFill/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94A4EB7-089C-4C54-E3CE-E0E28BFB967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087FCB1-EC36-29B8-F5E7-07FC9B973E54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16AAFAE-002A-8C9F-6519-1669ACE97043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9E9E3FF-4F50-99C9-A394-8B0A441A0A46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B25F6A5-0D6E-6332-A9EA-904E8317871D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A626D6F-13AA-88F0-7580-382F5E9DCD02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8543CA7-F10A-C9D4-72E6-1CF07605298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8BFC4D1-13B9-5DA9-D3BE-3473619D1587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F3310C3-B01A-B57E-9B1B-986C2760E587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8EB4A0F-7F27-E0E4-CABD-CB3AC7C806A1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9BBC305-29FF-A2BC-ABE3-DC2F1FD1217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3C278D-8189-2ED1-7EAC-23F48FFECCAB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AA3F4AF-5CCF-E5B0-6906-D66239C36083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74852B1-D4E3-2C2B-05C7-002F15CC0DAA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054E7744-0558-5804-3316-21DA14D5AC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44" name="Date Placeholder 43">
            <a:extLst>
              <a:ext uri="{FF2B5EF4-FFF2-40B4-BE49-F238E27FC236}">
                <a16:creationId xmlns:a16="http://schemas.microsoft.com/office/drawing/2014/main" id="{21CF785F-45A2-FE7D-19F4-B7166357E5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5" name="Footer Placeholder 44">
            <a:extLst>
              <a:ext uri="{FF2B5EF4-FFF2-40B4-BE49-F238E27FC236}">
                <a16:creationId xmlns:a16="http://schemas.microsoft.com/office/drawing/2014/main" id="{73549E7E-E23F-F049-45A3-BC2EB52233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D2FCC492-13DB-0DC0-B8AD-2D4B3C6490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5951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6520110" cy="2168421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957601"/>
            <a:ext cx="651376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rgbClr val="0C716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0F1E15-3B80-98BF-540F-17D8E0096EEE}"/>
              </a:ext>
            </a:extLst>
          </p:cNvPr>
          <p:cNvSpPr/>
          <p:nvPr userDrawn="1"/>
        </p:nvSpPr>
        <p:spPr>
          <a:xfrm>
            <a:off x="6491650" y="-2406"/>
            <a:ext cx="5700351" cy="4588282"/>
          </a:xfrm>
          <a:custGeom>
            <a:avLst/>
            <a:gdLst>
              <a:gd name="connsiteX0" fmla="*/ 0 w 5700351"/>
              <a:gd name="connsiteY0" fmla="*/ 0 h 4588282"/>
              <a:gd name="connsiteX1" fmla="*/ 5700351 w 5700351"/>
              <a:gd name="connsiteY1" fmla="*/ 0 h 4588282"/>
              <a:gd name="connsiteX2" fmla="*/ 5700351 w 5700351"/>
              <a:gd name="connsiteY2" fmla="*/ 4553254 h 4588282"/>
              <a:gd name="connsiteX3" fmla="*/ 5585591 w 5700351"/>
              <a:gd name="connsiteY3" fmla="*/ 4566460 h 4588282"/>
              <a:gd name="connsiteX4" fmla="*/ 5108855 w 5700351"/>
              <a:gd name="connsiteY4" fmla="*/ 4588282 h 4588282"/>
              <a:gd name="connsiteX5" fmla="*/ 29517 w 5700351"/>
              <a:gd name="connsiteY5" fmla="*/ 232286 h 4588282"/>
              <a:gd name="connsiteX6" fmla="*/ 0 w 5700351"/>
              <a:gd name="connsiteY6" fmla="*/ 0 h 458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0351" h="4588282">
                <a:moveTo>
                  <a:pt x="0" y="0"/>
                </a:moveTo>
                <a:lnTo>
                  <a:pt x="5700351" y="0"/>
                </a:lnTo>
                <a:lnTo>
                  <a:pt x="5700351" y="4553254"/>
                </a:lnTo>
                <a:lnTo>
                  <a:pt x="5585591" y="4566460"/>
                </a:lnTo>
                <a:cubicBezTo>
                  <a:pt x="5428617" y="4580902"/>
                  <a:pt x="5269598" y="4588282"/>
                  <a:pt x="5108855" y="4588282"/>
                </a:cubicBezTo>
                <a:cubicBezTo>
                  <a:pt x="2536971" y="4588282"/>
                  <a:pt x="406395" y="2698820"/>
                  <a:pt x="29517" y="23228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646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11" name="Graphic 10">
            <a:extLst>
              <a:ext uri="{FF2B5EF4-FFF2-40B4-BE49-F238E27FC236}">
                <a16:creationId xmlns:a16="http://schemas.microsoft.com/office/drawing/2014/main" id="{CD38CB9D-9226-E15E-F4A9-83FA89226002}"/>
              </a:ext>
            </a:extLst>
          </p:cNvPr>
          <p:cNvGrpSpPr/>
          <p:nvPr userDrawn="1"/>
        </p:nvGrpSpPr>
        <p:grpSpPr>
          <a:xfrm rot="16200000" flipV="1">
            <a:off x="7158276" y="3003052"/>
            <a:ext cx="6721792" cy="3360896"/>
            <a:chOff x="6919912" y="3216683"/>
            <a:chExt cx="2628900" cy="1314450"/>
          </a:xfrm>
          <a:noFill/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6BC1F00-76DA-F144-6735-5CF7CBA8E5C2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EFCB3BA-A52A-ADF9-6C8D-A0A6120C3ED0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8916490-61C6-2CCE-BC34-44A20BBE97EB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85C3D1F-173A-1A0C-E0D4-D48AFF416268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1CA199-94D8-E952-F82B-2DCFAE8DF19E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5322E85-9F95-18B3-947E-7B292647E06C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09E420-3C1C-A8C5-6942-EFB413968412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85246BB-9DF6-209D-07A8-5B8DB0FEA23D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D868187-CE88-288F-2C2B-B1859656CC13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16DAFF5-E841-7ED0-635D-207E599DC0C5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288AD37-EE7F-288D-D42B-D5556C999526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28F44EC-38CF-D5BC-E32A-247D3A407AB3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BD8A68F-626F-31A9-3B47-BC588A33B25C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B60D43B-6EAB-24F8-11D1-59A417D0BC64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27" name="Graphic 10">
            <a:extLst>
              <a:ext uri="{FF2B5EF4-FFF2-40B4-BE49-F238E27FC236}">
                <a16:creationId xmlns:a16="http://schemas.microsoft.com/office/drawing/2014/main" id="{13047507-E1D9-D5D6-D6B3-A63D3B9B0251}"/>
              </a:ext>
            </a:extLst>
          </p:cNvPr>
          <p:cNvGrpSpPr/>
          <p:nvPr userDrawn="1"/>
        </p:nvGrpSpPr>
        <p:grpSpPr>
          <a:xfrm rot="16200000">
            <a:off x="-16902" y="4908942"/>
            <a:ext cx="1946855" cy="1928289"/>
            <a:chOff x="10196512" y="3216683"/>
            <a:chExt cx="1314450" cy="1314450"/>
          </a:xfrm>
          <a:noFill/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16AEFB-87E7-5455-FC29-A29A07339580}"/>
                </a:ext>
              </a:extLst>
            </p:cNvPr>
            <p:cNvSpPr/>
            <p:nvPr/>
          </p:nvSpPr>
          <p:spPr>
            <a:xfrm>
              <a:off x="10196512" y="3216683"/>
              <a:ext cx="1314450" cy="1314450"/>
            </a:xfrm>
            <a:custGeom>
              <a:avLst/>
              <a:gdLst>
                <a:gd name="connsiteX0" fmla="*/ 0 w 1314450"/>
                <a:gd name="connsiteY0" fmla="*/ 1314450 h 1314450"/>
                <a:gd name="connsiteX1" fmla="*/ 1314450 w 1314450"/>
                <a:gd name="connsiteY1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4450" h="1314450">
                  <a:moveTo>
                    <a:pt x="0" y="1314450"/>
                  </a:moveTo>
                  <a:cubicBezTo>
                    <a:pt x="725995" y="1314450"/>
                    <a:pt x="1314450" y="725996"/>
                    <a:pt x="1314450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D7FBC08-42B5-A703-DC19-89E58AE12C96}"/>
                </a:ext>
              </a:extLst>
            </p:cNvPr>
            <p:cNvSpPr/>
            <p:nvPr/>
          </p:nvSpPr>
          <p:spPr>
            <a:xfrm>
              <a:off x="10196512" y="3216683"/>
              <a:ext cx="1216247" cy="1216247"/>
            </a:xfrm>
            <a:custGeom>
              <a:avLst/>
              <a:gdLst>
                <a:gd name="connsiteX0" fmla="*/ 0 w 1216247"/>
                <a:gd name="connsiteY0" fmla="*/ 1216247 h 1216247"/>
                <a:gd name="connsiteX1" fmla="*/ 1216247 w 1216247"/>
                <a:gd name="connsiteY1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6247" h="1216247">
                  <a:moveTo>
                    <a:pt x="0" y="1216247"/>
                  </a:moveTo>
                  <a:cubicBezTo>
                    <a:pt x="671703" y="1216247"/>
                    <a:pt x="1216247" y="671703"/>
                    <a:pt x="1216247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79A970C-4CED-5494-A3C3-51A2D6BC9E54}"/>
                </a:ext>
              </a:extLst>
            </p:cNvPr>
            <p:cNvSpPr/>
            <p:nvPr/>
          </p:nvSpPr>
          <p:spPr>
            <a:xfrm>
              <a:off x="10196512" y="3216683"/>
              <a:ext cx="1118044" cy="1118044"/>
            </a:xfrm>
            <a:custGeom>
              <a:avLst/>
              <a:gdLst>
                <a:gd name="connsiteX0" fmla="*/ 0 w 1118044"/>
                <a:gd name="connsiteY0" fmla="*/ 1118045 h 1118044"/>
                <a:gd name="connsiteX1" fmla="*/ 1118045 w 1118044"/>
                <a:gd name="connsiteY1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8044" h="1118044">
                  <a:moveTo>
                    <a:pt x="0" y="1118045"/>
                  </a:moveTo>
                  <a:cubicBezTo>
                    <a:pt x="617506" y="1118045"/>
                    <a:pt x="1118045" y="617506"/>
                    <a:pt x="111804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38A2A70-BF97-3BCC-019F-F7C9F0478AC1}"/>
                </a:ext>
              </a:extLst>
            </p:cNvPr>
            <p:cNvSpPr/>
            <p:nvPr/>
          </p:nvSpPr>
          <p:spPr>
            <a:xfrm>
              <a:off x="10196512" y="3216683"/>
              <a:ext cx="1019841" cy="1019841"/>
            </a:xfrm>
            <a:custGeom>
              <a:avLst/>
              <a:gdLst>
                <a:gd name="connsiteX0" fmla="*/ 0 w 1019841"/>
                <a:gd name="connsiteY0" fmla="*/ 1019842 h 1019841"/>
                <a:gd name="connsiteX1" fmla="*/ 1019842 w 1019841"/>
                <a:gd name="connsiteY1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9841" h="1019841">
                  <a:moveTo>
                    <a:pt x="0" y="1019842"/>
                  </a:moveTo>
                  <a:cubicBezTo>
                    <a:pt x="563309" y="1019842"/>
                    <a:pt x="1019842" y="563213"/>
                    <a:pt x="101984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08C0043-615A-84EE-5CAC-8F0DD4B9A83D}"/>
                </a:ext>
              </a:extLst>
            </p:cNvPr>
            <p:cNvSpPr/>
            <p:nvPr/>
          </p:nvSpPr>
          <p:spPr>
            <a:xfrm>
              <a:off x="10196512" y="3216683"/>
              <a:ext cx="921639" cy="921639"/>
            </a:xfrm>
            <a:custGeom>
              <a:avLst/>
              <a:gdLst>
                <a:gd name="connsiteX0" fmla="*/ 0 w 921639"/>
                <a:gd name="connsiteY0" fmla="*/ 921639 h 921639"/>
                <a:gd name="connsiteX1" fmla="*/ 921639 w 921639"/>
                <a:gd name="connsiteY1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1639" h="921639">
                  <a:moveTo>
                    <a:pt x="0" y="921639"/>
                  </a:moveTo>
                  <a:cubicBezTo>
                    <a:pt x="509016" y="921639"/>
                    <a:pt x="921639" y="509016"/>
                    <a:pt x="921639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661126C-340C-8B74-CCCB-3F66778CB8A2}"/>
                </a:ext>
              </a:extLst>
            </p:cNvPr>
            <p:cNvSpPr/>
            <p:nvPr/>
          </p:nvSpPr>
          <p:spPr>
            <a:xfrm>
              <a:off x="10196512" y="3216683"/>
              <a:ext cx="823531" cy="823531"/>
            </a:xfrm>
            <a:custGeom>
              <a:avLst/>
              <a:gdLst>
                <a:gd name="connsiteX0" fmla="*/ 0 w 823531"/>
                <a:gd name="connsiteY0" fmla="*/ 823532 h 823531"/>
                <a:gd name="connsiteX1" fmla="*/ 823532 w 823531"/>
                <a:gd name="connsiteY1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3531" h="823531">
                  <a:moveTo>
                    <a:pt x="0" y="823532"/>
                  </a:moveTo>
                  <a:cubicBezTo>
                    <a:pt x="454819" y="823532"/>
                    <a:pt x="823532" y="454819"/>
                    <a:pt x="82353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A705DFA-37A9-F54A-F3BE-22E723E579F6}"/>
                </a:ext>
              </a:extLst>
            </p:cNvPr>
            <p:cNvSpPr/>
            <p:nvPr/>
          </p:nvSpPr>
          <p:spPr>
            <a:xfrm>
              <a:off x="10196512" y="3216683"/>
              <a:ext cx="725328" cy="725328"/>
            </a:xfrm>
            <a:custGeom>
              <a:avLst/>
              <a:gdLst>
                <a:gd name="connsiteX0" fmla="*/ 0 w 725328"/>
                <a:gd name="connsiteY0" fmla="*/ 725329 h 725328"/>
                <a:gd name="connsiteX1" fmla="*/ 725329 w 725328"/>
                <a:gd name="connsiteY1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5328" h="725328">
                  <a:moveTo>
                    <a:pt x="0" y="725329"/>
                  </a:moveTo>
                  <a:cubicBezTo>
                    <a:pt x="400526" y="725329"/>
                    <a:pt x="725329" y="400622"/>
                    <a:pt x="725329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267F1EB-1AC7-F91E-F300-7A62F9439B9F}"/>
                </a:ext>
              </a:extLst>
            </p:cNvPr>
            <p:cNvSpPr/>
            <p:nvPr/>
          </p:nvSpPr>
          <p:spPr>
            <a:xfrm>
              <a:off x="10196512" y="3216683"/>
              <a:ext cx="627126" cy="627125"/>
            </a:xfrm>
            <a:custGeom>
              <a:avLst/>
              <a:gdLst>
                <a:gd name="connsiteX0" fmla="*/ 0 w 627126"/>
                <a:gd name="connsiteY0" fmla="*/ 627126 h 627125"/>
                <a:gd name="connsiteX1" fmla="*/ 627126 w 627126"/>
                <a:gd name="connsiteY1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126" h="627125">
                  <a:moveTo>
                    <a:pt x="0" y="627126"/>
                  </a:moveTo>
                  <a:cubicBezTo>
                    <a:pt x="346329" y="627126"/>
                    <a:pt x="627126" y="346329"/>
                    <a:pt x="627126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71B6167-3BBD-8551-5CFB-A371211CF496}"/>
                </a:ext>
              </a:extLst>
            </p:cNvPr>
            <p:cNvSpPr/>
            <p:nvPr/>
          </p:nvSpPr>
          <p:spPr>
            <a:xfrm>
              <a:off x="10196512" y="3216683"/>
              <a:ext cx="528923" cy="528923"/>
            </a:xfrm>
            <a:custGeom>
              <a:avLst/>
              <a:gdLst>
                <a:gd name="connsiteX0" fmla="*/ 0 w 528923"/>
                <a:gd name="connsiteY0" fmla="*/ 528923 h 528923"/>
                <a:gd name="connsiteX1" fmla="*/ 528924 w 528923"/>
                <a:gd name="connsiteY1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8923" h="528923">
                  <a:moveTo>
                    <a:pt x="0" y="528923"/>
                  </a:moveTo>
                  <a:cubicBezTo>
                    <a:pt x="292132" y="528923"/>
                    <a:pt x="528924" y="292132"/>
                    <a:pt x="528924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33FA703-6F42-610E-D642-15CBC572EAB2}"/>
                </a:ext>
              </a:extLst>
            </p:cNvPr>
            <p:cNvSpPr/>
            <p:nvPr/>
          </p:nvSpPr>
          <p:spPr>
            <a:xfrm>
              <a:off x="10196512" y="3216683"/>
              <a:ext cx="430720" cy="430720"/>
            </a:xfrm>
            <a:custGeom>
              <a:avLst/>
              <a:gdLst>
                <a:gd name="connsiteX0" fmla="*/ 0 w 430720"/>
                <a:gd name="connsiteY0" fmla="*/ 430721 h 430720"/>
                <a:gd name="connsiteX1" fmla="*/ 430720 w 430720"/>
                <a:gd name="connsiteY1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720" h="430720">
                  <a:moveTo>
                    <a:pt x="0" y="430721"/>
                  </a:moveTo>
                  <a:cubicBezTo>
                    <a:pt x="237839" y="430721"/>
                    <a:pt x="430720" y="237839"/>
                    <a:pt x="430720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8D1F278-2AD4-E661-08EF-BC1DC30C8C2A}"/>
                </a:ext>
              </a:extLst>
            </p:cNvPr>
            <p:cNvSpPr/>
            <p:nvPr/>
          </p:nvSpPr>
          <p:spPr>
            <a:xfrm>
              <a:off x="10196512" y="3216683"/>
              <a:ext cx="332517" cy="332517"/>
            </a:xfrm>
            <a:custGeom>
              <a:avLst/>
              <a:gdLst>
                <a:gd name="connsiteX0" fmla="*/ 0 w 332517"/>
                <a:gd name="connsiteY0" fmla="*/ 332518 h 332517"/>
                <a:gd name="connsiteX1" fmla="*/ 332518 w 332517"/>
                <a:gd name="connsiteY1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517" h="332517">
                  <a:moveTo>
                    <a:pt x="0" y="332518"/>
                  </a:moveTo>
                  <a:cubicBezTo>
                    <a:pt x="183642" y="332518"/>
                    <a:pt x="332518" y="183642"/>
                    <a:pt x="332518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AD1E5F0-0450-B8F1-854D-98F27711447E}"/>
                </a:ext>
              </a:extLst>
            </p:cNvPr>
            <p:cNvSpPr/>
            <p:nvPr/>
          </p:nvSpPr>
          <p:spPr>
            <a:xfrm>
              <a:off x="10196512" y="3216683"/>
              <a:ext cx="234314" cy="234315"/>
            </a:xfrm>
            <a:custGeom>
              <a:avLst/>
              <a:gdLst>
                <a:gd name="connsiteX0" fmla="*/ 0 w 234314"/>
                <a:gd name="connsiteY0" fmla="*/ 234315 h 234315"/>
                <a:gd name="connsiteX1" fmla="*/ 234315 w 234314"/>
                <a:gd name="connsiteY1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5">
                  <a:moveTo>
                    <a:pt x="0" y="234315"/>
                  </a:moveTo>
                  <a:cubicBezTo>
                    <a:pt x="129445" y="234315"/>
                    <a:pt x="234315" y="129350"/>
                    <a:pt x="23431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7F1E9CD-002F-065D-7A16-FBAFCA178807}"/>
                </a:ext>
              </a:extLst>
            </p:cNvPr>
            <p:cNvSpPr/>
            <p:nvPr/>
          </p:nvSpPr>
          <p:spPr>
            <a:xfrm>
              <a:off x="10196512" y="3216683"/>
              <a:ext cx="136112" cy="136112"/>
            </a:xfrm>
            <a:custGeom>
              <a:avLst/>
              <a:gdLst>
                <a:gd name="connsiteX0" fmla="*/ 0 w 136112"/>
                <a:gd name="connsiteY0" fmla="*/ 136112 h 136112"/>
                <a:gd name="connsiteX1" fmla="*/ 136112 w 136112"/>
                <a:gd name="connsiteY1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112" h="136112">
                  <a:moveTo>
                    <a:pt x="0" y="136112"/>
                  </a:moveTo>
                  <a:cubicBezTo>
                    <a:pt x="75152" y="136112"/>
                    <a:pt x="136112" y="75152"/>
                    <a:pt x="13611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82EF266-05C3-AD75-7859-FA44315AA506}"/>
                </a:ext>
              </a:extLst>
            </p:cNvPr>
            <p:cNvSpPr/>
            <p:nvPr/>
          </p:nvSpPr>
          <p:spPr>
            <a:xfrm>
              <a:off x="10196512" y="3216683"/>
              <a:ext cx="38004" cy="38004"/>
            </a:xfrm>
            <a:custGeom>
              <a:avLst/>
              <a:gdLst>
                <a:gd name="connsiteX0" fmla="*/ 0 w 38004"/>
                <a:gd name="connsiteY0" fmla="*/ 38005 h 38004"/>
                <a:gd name="connsiteX1" fmla="*/ 38005 w 38004"/>
                <a:gd name="connsiteY1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04" h="38004">
                  <a:moveTo>
                    <a:pt x="0" y="38005"/>
                  </a:moveTo>
                  <a:cubicBezTo>
                    <a:pt x="20955" y="38005"/>
                    <a:pt x="38005" y="21050"/>
                    <a:pt x="3800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999425A-3F26-425E-47CA-A9FBD80B25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08897" y="-2857"/>
            <a:ext cx="4490723" cy="3614637"/>
          </a:xfrm>
          <a:custGeom>
            <a:avLst/>
            <a:gdLst>
              <a:gd name="connsiteX0" fmla="*/ 0 w 4490723"/>
              <a:gd name="connsiteY0" fmla="*/ 0 h 3614637"/>
              <a:gd name="connsiteX1" fmla="*/ 4490723 w 4490723"/>
              <a:gd name="connsiteY1" fmla="*/ 0 h 3614637"/>
              <a:gd name="connsiteX2" fmla="*/ 4490723 w 4490723"/>
              <a:gd name="connsiteY2" fmla="*/ 3587042 h 3614637"/>
              <a:gd name="connsiteX3" fmla="*/ 4400315 w 4490723"/>
              <a:gd name="connsiteY3" fmla="*/ 3597446 h 3614637"/>
              <a:gd name="connsiteX4" fmla="*/ 4024744 w 4490723"/>
              <a:gd name="connsiteY4" fmla="*/ 3614637 h 3614637"/>
              <a:gd name="connsiteX5" fmla="*/ 23254 w 4490723"/>
              <a:gd name="connsiteY5" fmla="*/ 182994 h 361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90723" h="3614637">
                <a:moveTo>
                  <a:pt x="0" y="0"/>
                </a:moveTo>
                <a:lnTo>
                  <a:pt x="4490723" y="0"/>
                </a:lnTo>
                <a:lnTo>
                  <a:pt x="4490723" y="3587042"/>
                </a:lnTo>
                <a:lnTo>
                  <a:pt x="4400315" y="3597446"/>
                </a:lnTo>
                <a:cubicBezTo>
                  <a:pt x="4276651" y="3608823"/>
                  <a:pt x="4151377" y="3614637"/>
                  <a:pt x="4024744" y="3614637"/>
                </a:cubicBezTo>
                <a:cubicBezTo>
                  <a:pt x="1998620" y="3614637"/>
                  <a:pt x="320157" y="2126124"/>
                  <a:pt x="23254" y="182994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541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6520110" cy="2168421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957601"/>
            <a:ext cx="651376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rgbClr val="0C716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4E0800E-C3DA-432D-F120-ABD04D85679C}"/>
              </a:ext>
            </a:extLst>
          </p:cNvPr>
          <p:cNvSpPr/>
          <p:nvPr userDrawn="1"/>
        </p:nvSpPr>
        <p:spPr>
          <a:xfrm>
            <a:off x="6491650" y="-2406"/>
            <a:ext cx="5700351" cy="4588282"/>
          </a:xfrm>
          <a:custGeom>
            <a:avLst/>
            <a:gdLst>
              <a:gd name="connsiteX0" fmla="*/ 0 w 5700351"/>
              <a:gd name="connsiteY0" fmla="*/ 0 h 4588282"/>
              <a:gd name="connsiteX1" fmla="*/ 5700351 w 5700351"/>
              <a:gd name="connsiteY1" fmla="*/ 0 h 4588282"/>
              <a:gd name="connsiteX2" fmla="*/ 5700351 w 5700351"/>
              <a:gd name="connsiteY2" fmla="*/ 4553254 h 4588282"/>
              <a:gd name="connsiteX3" fmla="*/ 5585591 w 5700351"/>
              <a:gd name="connsiteY3" fmla="*/ 4566460 h 4588282"/>
              <a:gd name="connsiteX4" fmla="*/ 5108855 w 5700351"/>
              <a:gd name="connsiteY4" fmla="*/ 4588282 h 4588282"/>
              <a:gd name="connsiteX5" fmla="*/ 29517 w 5700351"/>
              <a:gd name="connsiteY5" fmla="*/ 232286 h 4588282"/>
              <a:gd name="connsiteX6" fmla="*/ 0 w 5700351"/>
              <a:gd name="connsiteY6" fmla="*/ 0 h 458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0351" h="4588282">
                <a:moveTo>
                  <a:pt x="0" y="0"/>
                </a:moveTo>
                <a:lnTo>
                  <a:pt x="5700351" y="0"/>
                </a:lnTo>
                <a:lnTo>
                  <a:pt x="5700351" y="4553254"/>
                </a:lnTo>
                <a:lnTo>
                  <a:pt x="5585591" y="4566460"/>
                </a:lnTo>
                <a:cubicBezTo>
                  <a:pt x="5428617" y="4580902"/>
                  <a:pt x="5269598" y="4588282"/>
                  <a:pt x="5108855" y="4588282"/>
                </a:cubicBezTo>
                <a:cubicBezTo>
                  <a:pt x="2536971" y="4588282"/>
                  <a:pt x="406395" y="2698820"/>
                  <a:pt x="29517" y="232286"/>
                </a:cubicBezTo>
                <a:lnTo>
                  <a:pt x="0" y="0"/>
                </a:lnTo>
                <a:close/>
              </a:path>
            </a:pathLst>
          </a:custGeom>
          <a:solidFill>
            <a:srgbClr val="D8A8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8" name="Graphic 10">
            <a:extLst>
              <a:ext uri="{FF2B5EF4-FFF2-40B4-BE49-F238E27FC236}">
                <a16:creationId xmlns:a16="http://schemas.microsoft.com/office/drawing/2014/main" id="{9D4F8452-FEB3-FA43-3FC9-414EF86F52B2}"/>
              </a:ext>
            </a:extLst>
          </p:cNvPr>
          <p:cNvGrpSpPr/>
          <p:nvPr userDrawn="1"/>
        </p:nvGrpSpPr>
        <p:grpSpPr>
          <a:xfrm rot="16200000" flipV="1">
            <a:off x="7158276" y="3003052"/>
            <a:ext cx="6721792" cy="3360896"/>
            <a:chOff x="6919912" y="3216683"/>
            <a:chExt cx="2628900" cy="1314450"/>
          </a:xfrm>
          <a:noFill/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AF0D98B-75D0-CF1E-9440-6A2EA8E809CB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A6DA7DC-1F50-A7E9-5334-7585E1ECE033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96EC9C0-1E83-769A-3415-FB6D1D194666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45527AA-E181-C788-8BB4-57481F901B23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D3CE31F-A233-32C1-63A4-69B5755A47D4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EF77E84-2BBA-3160-57E0-545144FC07FE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31A588A-1772-B889-2D56-AD708B009BF8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37CB4C0-8F99-EB33-7EB5-EF73B1C7538B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31743C6-06E8-ECB1-7206-B4BB121E5F7D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AE80D6D-BEB9-40D3-B95D-8AA1CB4C6A76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A0AD90-3EFC-E5DA-F366-44A3D41198EF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3F2A1B7-8E53-AA2F-FCAD-0CB155A73A7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FF279B2-BF58-645D-5CFD-40646F103DE8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FFA689-F63E-FA1E-0C32-BC857D51FDF3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40" name="Graphic 10">
            <a:extLst>
              <a:ext uri="{FF2B5EF4-FFF2-40B4-BE49-F238E27FC236}">
                <a16:creationId xmlns:a16="http://schemas.microsoft.com/office/drawing/2014/main" id="{00306E44-EBB1-13A1-070F-E5ACD4E6DC3B}"/>
              </a:ext>
            </a:extLst>
          </p:cNvPr>
          <p:cNvGrpSpPr/>
          <p:nvPr userDrawn="1"/>
        </p:nvGrpSpPr>
        <p:grpSpPr>
          <a:xfrm rot="16200000">
            <a:off x="-16902" y="4908942"/>
            <a:ext cx="1946855" cy="1928289"/>
            <a:chOff x="10196512" y="3216683"/>
            <a:chExt cx="1314450" cy="1314450"/>
          </a:xfrm>
          <a:noFill/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2EC5685-05FA-F746-B920-C4421418CDA2}"/>
                </a:ext>
              </a:extLst>
            </p:cNvPr>
            <p:cNvSpPr/>
            <p:nvPr/>
          </p:nvSpPr>
          <p:spPr>
            <a:xfrm>
              <a:off x="10196512" y="3216683"/>
              <a:ext cx="1314450" cy="1314450"/>
            </a:xfrm>
            <a:custGeom>
              <a:avLst/>
              <a:gdLst>
                <a:gd name="connsiteX0" fmla="*/ 0 w 1314450"/>
                <a:gd name="connsiteY0" fmla="*/ 1314450 h 1314450"/>
                <a:gd name="connsiteX1" fmla="*/ 1314450 w 1314450"/>
                <a:gd name="connsiteY1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4450" h="1314450">
                  <a:moveTo>
                    <a:pt x="0" y="1314450"/>
                  </a:moveTo>
                  <a:cubicBezTo>
                    <a:pt x="725995" y="1314450"/>
                    <a:pt x="1314450" y="725996"/>
                    <a:pt x="1314450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004DFE0-13D2-AF04-E322-816E82611EE9}"/>
                </a:ext>
              </a:extLst>
            </p:cNvPr>
            <p:cNvSpPr/>
            <p:nvPr/>
          </p:nvSpPr>
          <p:spPr>
            <a:xfrm>
              <a:off x="10196512" y="3216683"/>
              <a:ext cx="1216247" cy="1216247"/>
            </a:xfrm>
            <a:custGeom>
              <a:avLst/>
              <a:gdLst>
                <a:gd name="connsiteX0" fmla="*/ 0 w 1216247"/>
                <a:gd name="connsiteY0" fmla="*/ 1216247 h 1216247"/>
                <a:gd name="connsiteX1" fmla="*/ 1216247 w 1216247"/>
                <a:gd name="connsiteY1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6247" h="1216247">
                  <a:moveTo>
                    <a:pt x="0" y="1216247"/>
                  </a:moveTo>
                  <a:cubicBezTo>
                    <a:pt x="671703" y="1216247"/>
                    <a:pt x="1216247" y="671703"/>
                    <a:pt x="1216247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1BA8218-69A9-95D6-77AF-98C07012E485}"/>
                </a:ext>
              </a:extLst>
            </p:cNvPr>
            <p:cNvSpPr/>
            <p:nvPr/>
          </p:nvSpPr>
          <p:spPr>
            <a:xfrm>
              <a:off x="10196512" y="3216683"/>
              <a:ext cx="1118044" cy="1118044"/>
            </a:xfrm>
            <a:custGeom>
              <a:avLst/>
              <a:gdLst>
                <a:gd name="connsiteX0" fmla="*/ 0 w 1118044"/>
                <a:gd name="connsiteY0" fmla="*/ 1118045 h 1118044"/>
                <a:gd name="connsiteX1" fmla="*/ 1118045 w 1118044"/>
                <a:gd name="connsiteY1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8044" h="1118044">
                  <a:moveTo>
                    <a:pt x="0" y="1118045"/>
                  </a:moveTo>
                  <a:cubicBezTo>
                    <a:pt x="617506" y="1118045"/>
                    <a:pt x="1118045" y="617506"/>
                    <a:pt x="111804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E25D3F5-C88C-D976-6A4A-B09CF842509D}"/>
                </a:ext>
              </a:extLst>
            </p:cNvPr>
            <p:cNvSpPr/>
            <p:nvPr/>
          </p:nvSpPr>
          <p:spPr>
            <a:xfrm>
              <a:off x="10196512" y="3216683"/>
              <a:ext cx="1019841" cy="1019841"/>
            </a:xfrm>
            <a:custGeom>
              <a:avLst/>
              <a:gdLst>
                <a:gd name="connsiteX0" fmla="*/ 0 w 1019841"/>
                <a:gd name="connsiteY0" fmla="*/ 1019842 h 1019841"/>
                <a:gd name="connsiteX1" fmla="*/ 1019842 w 1019841"/>
                <a:gd name="connsiteY1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9841" h="1019841">
                  <a:moveTo>
                    <a:pt x="0" y="1019842"/>
                  </a:moveTo>
                  <a:cubicBezTo>
                    <a:pt x="563309" y="1019842"/>
                    <a:pt x="1019842" y="563213"/>
                    <a:pt x="101984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1D40BFA-B72F-EE30-4888-2FC120481AB2}"/>
                </a:ext>
              </a:extLst>
            </p:cNvPr>
            <p:cNvSpPr/>
            <p:nvPr/>
          </p:nvSpPr>
          <p:spPr>
            <a:xfrm>
              <a:off x="10196512" y="3216683"/>
              <a:ext cx="921639" cy="921639"/>
            </a:xfrm>
            <a:custGeom>
              <a:avLst/>
              <a:gdLst>
                <a:gd name="connsiteX0" fmla="*/ 0 w 921639"/>
                <a:gd name="connsiteY0" fmla="*/ 921639 h 921639"/>
                <a:gd name="connsiteX1" fmla="*/ 921639 w 921639"/>
                <a:gd name="connsiteY1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1639" h="921639">
                  <a:moveTo>
                    <a:pt x="0" y="921639"/>
                  </a:moveTo>
                  <a:cubicBezTo>
                    <a:pt x="509016" y="921639"/>
                    <a:pt x="921639" y="509016"/>
                    <a:pt x="921639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7230636-94C1-ACC8-CA17-D04E888AB735}"/>
                </a:ext>
              </a:extLst>
            </p:cNvPr>
            <p:cNvSpPr/>
            <p:nvPr/>
          </p:nvSpPr>
          <p:spPr>
            <a:xfrm>
              <a:off x="10196512" y="3216683"/>
              <a:ext cx="823531" cy="823531"/>
            </a:xfrm>
            <a:custGeom>
              <a:avLst/>
              <a:gdLst>
                <a:gd name="connsiteX0" fmla="*/ 0 w 823531"/>
                <a:gd name="connsiteY0" fmla="*/ 823532 h 823531"/>
                <a:gd name="connsiteX1" fmla="*/ 823532 w 823531"/>
                <a:gd name="connsiteY1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3531" h="823531">
                  <a:moveTo>
                    <a:pt x="0" y="823532"/>
                  </a:moveTo>
                  <a:cubicBezTo>
                    <a:pt x="454819" y="823532"/>
                    <a:pt x="823532" y="454819"/>
                    <a:pt x="82353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80FD10E-E751-2FD9-1230-40D3B06BC14E}"/>
                </a:ext>
              </a:extLst>
            </p:cNvPr>
            <p:cNvSpPr/>
            <p:nvPr/>
          </p:nvSpPr>
          <p:spPr>
            <a:xfrm>
              <a:off x="10196512" y="3216683"/>
              <a:ext cx="725328" cy="725328"/>
            </a:xfrm>
            <a:custGeom>
              <a:avLst/>
              <a:gdLst>
                <a:gd name="connsiteX0" fmla="*/ 0 w 725328"/>
                <a:gd name="connsiteY0" fmla="*/ 725329 h 725328"/>
                <a:gd name="connsiteX1" fmla="*/ 725329 w 725328"/>
                <a:gd name="connsiteY1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5328" h="725328">
                  <a:moveTo>
                    <a:pt x="0" y="725329"/>
                  </a:moveTo>
                  <a:cubicBezTo>
                    <a:pt x="400526" y="725329"/>
                    <a:pt x="725329" y="400622"/>
                    <a:pt x="725329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D7FC259-66AC-5442-6A91-11C1EB7F9D2B}"/>
                </a:ext>
              </a:extLst>
            </p:cNvPr>
            <p:cNvSpPr/>
            <p:nvPr/>
          </p:nvSpPr>
          <p:spPr>
            <a:xfrm>
              <a:off x="10196512" y="3216683"/>
              <a:ext cx="627126" cy="627125"/>
            </a:xfrm>
            <a:custGeom>
              <a:avLst/>
              <a:gdLst>
                <a:gd name="connsiteX0" fmla="*/ 0 w 627126"/>
                <a:gd name="connsiteY0" fmla="*/ 627126 h 627125"/>
                <a:gd name="connsiteX1" fmla="*/ 627126 w 627126"/>
                <a:gd name="connsiteY1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126" h="627125">
                  <a:moveTo>
                    <a:pt x="0" y="627126"/>
                  </a:moveTo>
                  <a:cubicBezTo>
                    <a:pt x="346329" y="627126"/>
                    <a:pt x="627126" y="346329"/>
                    <a:pt x="627126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8618F04-7F7A-3071-E944-FDE437685478}"/>
                </a:ext>
              </a:extLst>
            </p:cNvPr>
            <p:cNvSpPr/>
            <p:nvPr/>
          </p:nvSpPr>
          <p:spPr>
            <a:xfrm>
              <a:off x="10196512" y="3216683"/>
              <a:ext cx="528923" cy="528923"/>
            </a:xfrm>
            <a:custGeom>
              <a:avLst/>
              <a:gdLst>
                <a:gd name="connsiteX0" fmla="*/ 0 w 528923"/>
                <a:gd name="connsiteY0" fmla="*/ 528923 h 528923"/>
                <a:gd name="connsiteX1" fmla="*/ 528924 w 528923"/>
                <a:gd name="connsiteY1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8923" h="528923">
                  <a:moveTo>
                    <a:pt x="0" y="528923"/>
                  </a:moveTo>
                  <a:cubicBezTo>
                    <a:pt x="292132" y="528923"/>
                    <a:pt x="528924" y="292132"/>
                    <a:pt x="528924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6D838F0-DD64-C722-7D6F-C6DB9F9FCEB0}"/>
                </a:ext>
              </a:extLst>
            </p:cNvPr>
            <p:cNvSpPr/>
            <p:nvPr/>
          </p:nvSpPr>
          <p:spPr>
            <a:xfrm>
              <a:off x="10196512" y="3216683"/>
              <a:ext cx="430720" cy="430720"/>
            </a:xfrm>
            <a:custGeom>
              <a:avLst/>
              <a:gdLst>
                <a:gd name="connsiteX0" fmla="*/ 0 w 430720"/>
                <a:gd name="connsiteY0" fmla="*/ 430721 h 430720"/>
                <a:gd name="connsiteX1" fmla="*/ 430720 w 430720"/>
                <a:gd name="connsiteY1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720" h="430720">
                  <a:moveTo>
                    <a:pt x="0" y="430721"/>
                  </a:moveTo>
                  <a:cubicBezTo>
                    <a:pt x="237839" y="430721"/>
                    <a:pt x="430720" y="237839"/>
                    <a:pt x="430720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CA3B26F-52FA-CC11-F296-CC85CF954413}"/>
                </a:ext>
              </a:extLst>
            </p:cNvPr>
            <p:cNvSpPr/>
            <p:nvPr/>
          </p:nvSpPr>
          <p:spPr>
            <a:xfrm>
              <a:off x="10196512" y="3216683"/>
              <a:ext cx="332517" cy="332517"/>
            </a:xfrm>
            <a:custGeom>
              <a:avLst/>
              <a:gdLst>
                <a:gd name="connsiteX0" fmla="*/ 0 w 332517"/>
                <a:gd name="connsiteY0" fmla="*/ 332518 h 332517"/>
                <a:gd name="connsiteX1" fmla="*/ 332518 w 332517"/>
                <a:gd name="connsiteY1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517" h="332517">
                  <a:moveTo>
                    <a:pt x="0" y="332518"/>
                  </a:moveTo>
                  <a:cubicBezTo>
                    <a:pt x="183642" y="332518"/>
                    <a:pt x="332518" y="183642"/>
                    <a:pt x="332518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71CA178-0C15-FFDA-5273-CC1DB8AE7CC6}"/>
                </a:ext>
              </a:extLst>
            </p:cNvPr>
            <p:cNvSpPr/>
            <p:nvPr/>
          </p:nvSpPr>
          <p:spPr>
            <a:xfrm>
              <a:off x="10196512" y="3216683"/>
              <a:ext cx="234314" cy="234315"/>
            </a:xfrm>
            <a:custGeom>
              <a:avLst/>
              <a:gdLst>
                <a:gd name="connsiteX0" fmla="*/ 0 w 234314"/>
                <a:gd name="connsiteY0" fmla="*/ 234315 h 234315"/>
                <a:gd name="connsiteX1" fmla="*/ 234315 w 234314"/>
                <a:gd name="connsiteY1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5">
                  <a:moveTo>
                    <a:pt x="0" y="234315"/>
                  </a:moveTo>
                  <a:cubicBezTo>
                    <a:pt x="129445" y="234315"/>
                    <a:pt x="234315" y="129350"/>
                    <a:pt x="23431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45D803-7D6A-23C5-3E46-2A31370F6ED2}"/>
                </a:ext>
              </a:extLst>
            </p:cNvPr>
            <p:cNvSpPr/>
            <p:nvPr/>
          </p:nvSpPr>
          <p:spPr>
            <a:xfrm>
              <a:off x="10196512" y="3216683"/>
              <a:ext cx="136112" cy="136112"/>
            </a:xfrm>
            <a:custGeom>
              <a:avLst/>
              <a:gdLst>
                <a:gd name="connsiteX0" fmla="*/ 0 w 136112"/>
                <a:gd name="connsiteY0" fmla="*/ 136112 h 136112"/>
                <a:gd name="connsiteX1" fmla="*/ 136112 w 136112"/>
                <a:gd name="connsiteY1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112" h="136112">
                  <a:moveTo>
                    <a:pt x="0" y="136112"/>
                  </a:moveTo>
                  <a:cubicBezTo>
                    <a:pt x="75152" y="136112"/>
                    <a:pt x="136112" y="75152"/>
                    <a:pt x="136112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DE6F798-8EF6-7DF5-5113-8FF6B510ECF7}"/>
                </a:ext>
              </a:extLst>
            </p:cNvPr>
            <p:cNvSpPr/>
            <p:nvPr/>
          </p:nvSpPr>
          <p:spPr>
            <a:xfrm>
              <a:off x="10196512" y="3216683"/>
              <a:ext cx="38004" cy="38004"/>
            </a:xfrm>
            <a:custGeom>
              <a:avLst/>
              <a:gdLst>
                <a:gd name="connsiteX0" fmla="*/ 0 w 38004"/>
                <a:gd name="connsiteY0" fmla="*/ 38005 h 38004"/>
                <a:gd name="connsiteX1" fmla="*/ 38005 w 38004"/>
                <a:gd name="connsiteY1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04" h="38004">
                  <a:moveTo>
                    <a:pt x="0" y="38005"/>
                  </a:moveTo>
                  <a:cubicBezTo>
                    <a:pt x="20955" y="38005"/>
                    <a:pt x="38005" y="21050"/>
                    <a:pt x="38005" y="0"/>
                  </a:cubicBezTo>
                </a:path>
              </a:pathLst>
            </a:custGeom>
            <a:noFill/>
            <a:ln w="17780" cap="flat">
              <a:gradFill>
                <a:gsLst>
                  <a:gs pos="48000">
                    <a:srgbClr val="CAE6E9"/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738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9040" y="2676262"/>
            <a:ext cx="6520110" cy="2168421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5390" y="4924125"/>
            <a:ext cx="6520110" cy="134332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rgbClr val="09544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A3EAE27-1074-E3B7-194C-39C4E3583EE1}"/>
              </a:ext>
            </a:extLst>
          </p:cNvPr>
          <p:cNvSpPr/>
          <p:nvPr userDrawn="1"/>
        </p:nvSpPr>
        <p:spPr>
          <a:xfrm>
            <a:off x="0" y="1"/>
            <a:ext cx="4592832" cy="6857999"/>
          </a:xfrm>
          <a:custGeom>
            <a:avLst/>
            <a:gdLst>
              <a:gd name="connsiteX0" fmla="*/ 0 w 4592832"/>
              <a:gd name="connsiteY0" fmla="*/ 0 h 6857999"/>
              <a:gd name="connsiteX1" fmla="*/ 3445046 w 4592832"/>
              <a:gd name="connsiteY1" fmla="*/ 0 h 6857999"/>
              <a:gd name="connsiteX2" fmla="*/ 3495159 w 4592832"/>
              <a:gd name="connsiteY2" fmla="*/ 62596 h 6857999"/>
              <a:gd name="connsiteX3" fmla="*/ 4592832 w 4592832"/>
              <a:gd name="connsiteY3" fmla="*/ 3254543 h 6857999"/>
              <a:gd name="connsiteX4" fmla="*/ 3161803 w 4592832"/>
              <a:gd name="connsiteY4" fmla="*/ 6846188 h 6857999"/>
              <a:gd name="connsiteX5" fmla="*/ 3150594 w 4592832"/>
              <a:gd name="connsiteY5" fmla="*/ 6857999 h 6857999"/>
              <a:gd name="connsiteX6" fmla="*/ 0 w 4592832"/>
              <a:gd name="connsiteY6" fmla="*/ 6857999 h 6857999"/>
              <a:gd name="connsiteX7" fmla="*/ 0 w 4592832"/>
              <a:gd name="connsiteY7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92832" h="6857999">
                <a:moveTo>
                  <a:pt x="0" y="0"/>
                </a:moveTo>
                <a:lnTo>
                  <a:pt x="3445046" y="0"/>
                </a:lnTo>
                <a:lnTo>
                  <a:pt x="3495159" y="62596"/>
                </a:lnTo>
                <a:cubicBezTo>
                  <a:pt x="4188173" y="973755"/>
                  <a:pt x="4592832" y="2072174"/>
                  <a:pt x="4592832" y="3254543"/>
                </a:cubicBezTo>
                <a:cubicBezTo>
                  <a:pt x="4592832" y="4615500"/>
                  <a:pt x="4056700" y="5865229"/>
                  <a:pt x="3161803" y="6846188"/>
                </a:cubicBezTo>
                <a:lnTo>
                  <a:pt x="3150594" y="6857999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rgbClr val="1A9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13" name="Graphic 10">
            <a:extLst>
              <a:ext uri="{FF2B5EF4-FFF2-40B4-BE49-F238E27FC236}">
                <a16:creationId xmlns:a16="http://schemas.microsoft.com/office/drawing/2014/main" id="{4F581023-5B22-9F3D-4B37-5BEC39C12E1E}"/>
              </a:ext>
            </a:extLst>
          </p:cNvPr>
          <p:cNvGrpSpPr/>
          <p:nvPr userDrawn="1"/>
        </p:nvGrpSpPr>
        <p:grpSpPr>
          <a:xfrm>
            <a:off x="-1295400" y="0"/>
            <a:ext cx="7704524" cy="3852262"/>
            <a:chOff x="6919912" y="3216683"/>
            <a:chExt cx="2628900" cy="1314450"/>
          </a:xfrm>
          <a:noFill/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3D49669-019D-2A27-1CA8-7D710FF27C2F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4D18EB4-8BCD-DC81-8214-C41349C388C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BAEF079-5D03-3A0D-6546-43878CD9E276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B1DD442-76FD-0797-A229-04E63328F038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53681E3-D3F3-2C0E-F668-B8FED034EA71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956EEFD-2D94-1391-E111-EED006548E36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318657F-A0B6-C63A-935B-FC6812D7E71E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87FA585-BFB8-6441-6EEB-984E13EAECCC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AD4C74C-26BA-767A-95C4-2B5C1E64F04B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FCE26CB-E8FE-A321-894F-F0938A90E9B1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A5315E0-A07B-6661-11B7-D4C3D9B47D3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BCB2ED9-9C20-66E5-72CD-41A3BB0AF87C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E747663-B550-3A51-B944-9C5EB1CDCB8B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8A91FA7-0BDE-2DE5-60F6-30C76BAD86D6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A378801-85C3-B2F3-74CC-A4002E4349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563222" cy="6858000"/>
          </a:xfrm>
          <a:custGeom>
            <a:avLst/>
            <a:gdLst>
              <a:gd name="connsiteX0" fmla="*/ 0 w 3563222"/>
              <a:gd name="connsiteY0" fmla="*/ 0 h 6858000"/>
              <a:gd name="connsiteX1" fmla="*/ 1985024 w 3563222"/>
              <a:gd name="connsiteY1" fmla="*/ 0 h 6858000"/>
              <a:gd name="connsiteX2" fmla="*/ 2049193 w 3563222"/>
              <a:gd name="connsiteY2" fmla="*/ 46663 h 6858000"/>
              <a:gd name="connsiteX3" fmla="*/ 3563222 w 3563222"/>
              <a:gd name="connsiteY3" fmla="*/ 3276654 h 6858000"/>
              <a:gd name="connsiteX4" fmla="*/ 1617989 w 3563222"/>
              <a:gd name="connsiteY4" fmla="*/ 6787777 h 6858000"/>
              <a:gd name="connsiteX5" fmla="*/ 1481052 w 3563222"/>
              <a:gd name="connsiteY5" fmla="*/ 6858000 h 6858000"/>
              <a:gd name="connsiteX6" fmla="*/ 0 w 356322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63222" h="6858000">
                <a:moveTo>
                  <a:pt x="0" y="0"/>
                </a:moveTo>
                <a:lnTo>
                  <a:pt x="1985024" y="0"/>
                </a:lnTo>
                <a:lnTo>
                  <a:pt x="2049193" y="46663"/>
                </a:lnTo>
                <a:cubicBezTo>
                  <a:pt x="2962650" y="746665"/>
                  <a:pt x="3563222" y="1932105"/>
                  <a:pt x="3563222" y="3276654"/>
                </a:cubicBezTo>
                <a:cubicBezTo>
                  <a:pt x="3563222" y="4822886"/>
                  <a:pt x="2768965" y="6158695"/>
                  <a:pt x="1617989" y="6787777"/>
                </a:cubicBezTo>
                <a:lnTo>
                  <a:pt x="14810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35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9040" y="2676262"/>
            <a:ext cx="6520110" cy="2168421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5390" y="4924125"/>
            <a:ext cx="6520110" cy="134332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rgbClr val="09544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ED22F53-59D7-1D3D-5CC7-D936E167D4F2}"/>
              </a:ext>
            </a:extLst>
          </p:cNvPr>
          <p:cNvSpPr/>
          <p:nvPr userDrawn="1"/>
        </p:nvSpPr>
        <p:spPr>
          <a:xfrm>
            <a:off x="0" y="1"/>
            <a:ext cx="4592832" cy="6857999"/>
          </a:xfrm>
          <a:custGeom>
            <a:avLst/>
            <a:gdLst>
              <a:gd name="connsiteX0" fmla="*/ 0 w 4592832"/>
              <a:gd name="connsiteY0" fmla="*/ 0 h 6857999"/>
              <a:gd name="connsiteX1" fmla="*/ 3445046 w 4592832"/>
              <a:gd name="connsiteY1" fmla="*/ 0 h 6857999"/>
              <a:gd name="connsiteX2" fmla="*/ 3495159 w 4592832"/>
              <a:gd name="connsiteY2" fmla="*/ 62596 h 6857999"/>
              <a:gd name="connsiteX3" fmla="*/ 4592832 w 4592832"/>
              <a:gd name="connsiteY3" fmla="*/ 3254543 h 6857999"/>
              <a:gd name="connsiteX4" fmla="*/ 3161803 w 4592832"/>
              <a:gd name="connsiteY4" fmla="*/ 6846188 h 6857999"/>
              <a:gd name="connsiteX5" fmla="*/ 3150594 w 4592832"/>
              <a:gd name="connsiteY5" fmla="*/ 6857999 h 6857999"/>
              <a:gd name="connsiteX6" fmla="*/ 0 w 4592832"/>
              <a:gd name="connsiteY6" fmla="*/ 6857999 h 6857999"/>
              <a:gd name="connsiteX7" fmla="*/ 0 w 4592832"/>
              <a:gd name="connsiteY7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92832" h="6857999">
                <a:moveTo>
                  <a:pt x="0" y="0"/>
                </a:moveTo>
                <a:lnTo>
                  <a:pt x="3445046" y="0"/>
                </a:lnTo>
                <a:lnTo>
                  <a:pt x="3495159" y="62596"/>
                </a:lnTo>
                <a:cubicBezTo>
                  <a:pt x="4188173" y="973755"/>
                  <a:pt x="4592832" y="2072174"/>
                  <a:pt x="4592832" y="3254543"/>
                </a:cubicBezTo>
                <a:cubicBezTo>
                  <a:pt x="4592832" y="4615500"/>
                  <a:pt x="4056700" y="5865229"/>
                  <a:pt x="3161803" y="6846188"/>
                </a:cubicBezTo>
                <a:lnTo>
                  <a:pt x="3150594" y="6857999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rgbClr val="791F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8" name="Graphic 10">
            <a:extLst>
              <a:ext uri="{FF2B5EF4-FFF2-40B4-BE49-F238E27FC236}">
                <a16:creationId xmlns:a16="http://schemas.microsoft.com/office/drawing/2014/main" id="{76CA097E-2026-2BE5-E85F-EF6EBDC2BA20}"/>
              </a:ext>
            </a:extLst>
          </p:cNvPr>
          <p:cNvGrpSpPr/>
          <p:nvPr userDrawn="1"/>
        </p:nvGrpSpPr>
        <p:grpSpPr>
          <a:xfrm>
            <a:off x="-1295400" y="0"/>
            <a:ext cx="7704524" cy="3852262"/>
            <a:chOff x="6919912" y="3216683"/>
            <a:chExt cx="2628900" cy="1314450"/>
          </a:xfrm>
          <a:noFill/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A70A247-5BC3-C26A-1078-59634DFC819A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3AED0BA-DF1B-8503-4B41-2F5A03356E1F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6F4711-2C35-F0E0-E686-7EAF2C3DB936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38C4FAA-78AE-957E-C023-A7EF4772C974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77E13E2-F5D8-B996-36F6-DF5594AE1870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3F45669-CEE8-1A12-85A4-2C4901142565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32F2A85-0FB6-76C5-624E-7994585555EB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BFB4FF3-5E3B-AD5B-2E68-A9C370958B85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0D867AB-87FC-1591-0B2E-2D2BBE385E80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97EAEDB-F7FE-E035-D114-364214F62E80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E777A3B-4003-BCE9-0A6C-7646B9684F4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3866EC-2087-F9D4-94CA-F164F9F3BBEC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C6F3E0D-339A-86D8-664F-DD52C1967DC3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BB39448-5103-F103-0EF7-CF124D8E03E3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8328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376F3-F7CB-5948-8194-6FFD7BD657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LIN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06FE3-DAB7-B027-4236-AD8B21322B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88431" y="1490746"/>
            <a:ext cx="5321653" cy="43766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DC0FB-6612-5069-0977-72FC17543B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1907" y="1490746"/>
            <a:ext cx="5321653" cy="43766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620122-62B8-1329-1FF3-685AE4A0E265}"/>
              </a:ext>
            </a:extLst>
          </p:cNvPr>
          <p:cNvCxnSpPr>
            <a:cxnSpLocks/>
          </p:cNvCxnSpPr>
          <p:nvPr userDrawn="1"/>
        </p:nvCxnSpPr>
        <p:spPr>
          <a:xfrm>
            <a:off x="6096962" y="1482055"/>
            <a:ext cx="0" cy="4385345"/>
          </a:xfrm>
          <a:prstGeom prst="line">
            <a:avLst/>
          </a:prstGeom>
          <a:noFill/>
          <a:ln w="12700" cap="rnd">
            <a:solidFill>
              <a:srgbClr val="D0CB17"/>
            </a:solidFill>
            <a:prstDash val="solid"/>
            <a:miter/>
          </a:ln>
        </p:spPr>
      </p:cxn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6BB9A277-17AB-5BC7-2A2C-91268F1E35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1E5F68F7-A6D6-FF85-1BA4-43CEE208FB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EC1F2063-9E55-92D7-9FB0-110FBAB33D9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41363A30-F4FD-9DF6-0E32-6ABFF64341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89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376F3-F7CB-5948-8194-6FFD7BD657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LINE TITLE HERE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6BB9A277-17AB-5BC7-2A2C-91268F1E35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1E5F68F7-A6D6-FF85-1BA4-43CEE208FB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EC1F2063-9E55-92D7-9FB0-110FBAB33D9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41363A30-F4FD-9DF6-0E32-6ABFF64341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647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F15896A-C2B9-2986-F012-EEBFFD48E232}"/>
              </a:ext>
            </a:extLst>
          </p:cNvPr>
          <p:cNvGrpSpPr/>
          <p:nvPr userDrawn="1"/>
        </p:nvGrpSpPr>
        <p:grpSpPr>
          <a:xfrm>
            <a:off x="-2522122" y="366060"/>
            <a:ext cx="7582568" cy="7582568"/>
            <a:chOff x="7101970" y="469310"/>
            <a:chExt cx="2638425" cy="263842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B95452F-68CF-71E8-B355-1BC2EFBB91D4}"/>
                </a:ext>
              </a:extLst>
            </p:cNvPr>
            <p:cNvSpPr/>
            <p:nvPr/>
          </p:nvSpPr>
          <p:spPr>
            <a:xfrm>
              <a:off x="7101970" y="469310"/>
              <a:ext cx="2638425" cy="2638425"/>
            </a:xfrm>
            <a:custGeom>
              <a:avLst/>
              <a:gdLst>
                <a:gd name="connsiteX0" fmla="*/ 2638425 w 2638425"/>
                <a:gd name="connsiteY0" fmla="*/ 1319213 h 2638425"/>
                <a:gd name="connsiteX1" fmla="*/ 1319213 w 2638425"/>
                <a:gd name="connsiteY1" fmla="*/ 2638425 h 2638425"/>
                <a:gd name="connsiteX2" fmla="*/ 0 w 2638425"/>
                <a:gd name="connsiteY2" fmla="*/ 1319213 h 2638425"/>
                <a:gd name="connsiteX3" fmla="*/ 1319213 w 2638425"/>
                <a:gd name="connsiteY3" fmla="*/ 0 h 2638425"/>
                <a:gd name="connsiteX4" fmla="*/ 2638425 w 2638425"/>
                <a:gd name="connsiteY4" fmla="*/ 1319213 h 26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5" h="2638425">
                  <a:moveTo>
                    <a:pt x="2638425" y="1319213"/>
                  </a:moveTo>
                  <a:cubicBezTo>
                    <a:pt x="2638425" y="2047794"/>
                    <a:pt x="2047794" y="2638425"/>
                    <a:pt x="1319213" y="2638425"/>
                  </a:cubicBezTo>
                  <a:cubicBezTo>
                    <a:pt x="590632" y="2638425"/>
                    <a:pt x="0" y="2047794"/>
                    <a:pt x="0" y="1319213"/>
                  </a:cubicBezTo>
                  <a:cubicBezTo>
                    <a:pt x="0" y="590632"/>
                    <a:pt x="590632" y="0"/>
                    <a:pt x="1319213" y="0"/>
                  </a:cubicBezTo>
                  <a:cubicBezTo>
                    <a:pt x="2047794" y="0"/>
                    <a:pt x="2638425" y="590632"/>
                    <a:pt x="2638425" y="1319213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A7A0682-B715-EDB0-467F-AB60ADEA6779}"/>
                </a:ext>
              </a:extLst>
            </p:cNvPr>
            <p:cNvSpPr/>
            <p:nvPr/>
          </p:nvSpPr>
          <p:spPr>
            <a:xfrm>
              <a:off x="7200554" y="567894"/>
              <a:ext cx="2441257" cy="2441257"/>
            </a:xfrm>
            <a:custGeom>
              <a:avLst/>
              <a:gdLst>
                <a:gd name="connsiteX0" fmla="*/ 2441258 w 2441257"/>
                <a:gd name="connsiteY0" fmla="*/ 1220629 h 2441257"/>
                <a:gd name="connsiteX1" fmla="*/ 1220629 w 2441257"/>
                <a:gd name="connsiteY1" fmla="*/ 2441258 h 2441257"/>
                <a:gd name="connsiteX2" fmla="*/ 0 w 2441257"/>
                <a:gd name="connsiteY2" fmla="*/ 1220629 h 2441257"/>
                <a:gd name="connsiteX3" fmla="*/ 1220629 w 2441257"/>
                <a:gd name="connsiteY3" fmla="*/ 0 h 2441257"/>
                <a:gd name="connsiteX4" fmla="*/ 2441258 w 2441257"/>
                <a:gd name="connsiteY4" fmla="*/ 1220629 h 244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257" h="2441257">
                  <a:moveTo>
                    <a:pt x="2441258" y="1220629"/>
                  </a:moveTo>
                  <a:cubicBezTo>
                    <a:pt x="2441258" y="1894763"/>
                    <a:pt x="1894763" y="2441258"/>
                    <a:pt x="1220629" y="2441258"/>
                  </a:cubicBezTo>
                  <a:cubicBezTo>
                    <a:pt x="546494" y="2441258"/>
                    <a:pt x="0" y="1894763"/>
                    <a:pt x="0" y="1220629"/>
                  </a:cubicBezTo>
                  <a:cubicBezTo>
                    <a:pt x="0" y="546494"/>
                    <a:pt x="546494" y="0"/>
                    <a:pt x="1220629" y="0"/>
                  </a:cubicBezTo>
                  <a:cubicBezTo>
                    <a:pt x="1894763" y="0"/>
                    <a:pt x="2441258" y="546494"/>
                    <a:pt x="2441258" y="1220629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61C498B-0433-1ACF-31CB-40281650F2F8}"/>
                </a:ext>
              </a:extLst>
            </p:cNvPr>
            <p:cNvSpPr/>
            <p:nvPr/>
          </p:nvSpPr>
          <p:spPr>
            <a:xfrm>
              <a:off x="7299042" y="666382"/>
              <a:ext cx="2244280" cy="2244280"/>
            </a:xfrm>
            <a:custGeom>
              <a:avLst/>
              <a:gdLst>
                <a:gd name="connsiteX0" fmla="*/ 2244281 w 2244280"/>
                <a:gd name="connsiteY0" fmla="*/ 1122140 h 2244280"/>
                <a:gd name="connsiteX1" fmla="*/ 1122140 w 2244280"/>
                <a:gd name="connsiteY1" fmla="*/ 2244281 h 2244280"/>
                <a:gd name="connsiteX2" fmla="*/ 0 w 2244280"/>
                <a:gd name="connsiteY2" fmla="*/ 1122140 h 2244280"/>
                <a:gd name="connsiteX3" fmla="*/ 1122140 w 2244280"/>
                <a:gd name="connsiteY3" fmla="*/ 0 h 2244280"/>
                <a:gd name="connsiteX4" fmla="*/ 2244281 w 2244280"/>
                <a:gd name="connsiteY4" fmla="*/ 1122140 h 224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4280" h="2244280">
                  <a:moveTo>
                    <a:pt x="2244281" y="1122140"/>
                  </a:moveTo>
                  <a:cubicBezTo>
                    <a:pt x="2244281" y="1741881"/>
                    <a:pt x="1741881" y="2244281"/>
                    <a:pt x="1122140" y="2244281"/>
                  </a:cubicBezTo>
                  <a:cubicBezTo>
                    <a:pt x="502399" y="2244281"/>
                    <a:pt x="0" y="1741881"/>
                    <a:pt x="0" y="1122140"/>
                  </a:cubicBezTo>
                  <a:cubicBezTo>
                    <a:pt x="0" y="502399"/>
                    <a:pt x="502399" y="0"/>
                    <a:pt x="1122140" y="0"/>
                  </a:cubicBezTo>
                  <a:cubicBezTo>
                    <a:pt x="1741881" y="0"/>
                    <a:pt x="2244281" y="502399"/>
                    <a:pt x="2244281" y="112214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1A764D4-239B-9C54-44F0-4908F793AFC7}"/>
                </a:ext>
              </a:extLst>
            </p:cNvPr>
            <p:cNvSpPr/>
            <p:nvPr/>
          </p:nvSpPr>
          <p:spPr>
            <a:xfrm>
              <a:off x="7397626" y="764966"/>
              <a:ext cx="2047112" cy="2047112"/>
            </a:xfrm>
            <a:custGeom>
              <a:avLst/>
              <a:gdLst>
                <a:gd name="connsiteX0" fmla="*/ 2047113 w 2047112"/>
                <a:gd name="connsiteY0" fmla="*/ 1023557 h 2047112"/>
                <a:gd name="connsiteX1" fmla="*/ 1023557 w 2047112"/>
                <a:gd name="connsiteY1" fmla="*/ 2047113 h 2047112"/>
                <a:gd name="connsiteX2" fmla="*/ 0 w 2047112"/>
                <a:gd name="connsiteY2" fmla="*/ 1023557 h 2047112"/>
                <a:gd name="connsiteX3" fmla="*/ 1023557 w 2047112"/>
                <a:gd name="connsiteY3" fmla="*/ 0 h 2047112"/>
                <a:gd name="connsiteX4" fmla="*/ 2047113 w 2047112"/>
                <a:gd name="connsiteY4" fmla="*/ 1023557 h 20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7112" h="2047112">
                  <a:moveTo>
                    <a:pt x="2047113" y="1023557"/>
                  </a:moveTo>
                  <a:cubicBezTo>
                    <a:pt x="2047113" y="1588851"/>
                    <a:pt x="1588851" y="2047113"/>
                    <a:pt x="1023557" y="2047113"/>
                  </a:cubicBezTo>
                  <a:cubicBezTo>
                    <a:pt x="458262" y="2047113"/>
                    <a:pt x="0" y="1588851"/>
                    <a:pt x="0" y="1023557"/>
                  </a:cubicBezTo>
                  <a:cubicBezTo>
                    <a:pt x="0" y="458262"/>
                    <a:pt x="458262" y="0"/>
                    <a:pt x="1023557" y="0"/>
                  </a:cubicBezTo>
                  <a:cubicBezTo>
                    <a:pt x="1588851" y="0"/>
                    <a:pt x="2047113" y="458262"/>
                    <a:pt x="2047113" y="1023557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227ED71-AC0A-052F-0580-FE88F3F78C2F}"/>
                </a:ext>
              </a:extLst>
            </p:cNvPr>
            <p:cNvSpPr/>
            <p:nvPr/>
          </p:nvSpPr>
          <p:spPr>
            <a:xfrm>
              <a:off x="7496114" y="863454"/>
              <a:ext cx="1850136" cy="1850136"/>
            </a:xfrm>
            <a:custGeom>
              <a:avLst/>
              <a:gdLst>
                <a:gd name="connsiteX0" fmla="*/ 1850136 w 1850136"/>
                <a:gd name="connsiteY0" fmla="*/ 925068 h 1850136"/>
                <a:gd name="connsiteX1" fmla="*/ 925068 w 1850136"/>
                <a:gd name="connsiteY1" fmla="*/ 1850136 h 1850136"/>
                <a:gd name="connsiteX2" fmla="*/ 0 w 1850136"/>
                <a:gd name="connsiteY2" fmla="*/ 925068 h 1850136"/>
                <a:gd name="connsiteX3" fmla="*/ 925068 w 1850136"/>
                <a:gd name="connsiteY3" fmla="*/ 0 h 1850136"/>
                <a:gd name="connsiteX4" fmla="*/ 1850136 w 1850136"/>
                <a:gd name="connsiteY4" fmla="*/ 925068 h 185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136" h="1850136">
                  <a:moveTo>
                    <a:pt x="1850136" y="925068"/>
                  </a:moveTo>
                  <a:cubicBezTo>
                    <a:pt x="1850136" y="1435969"/>
                    <a:pt x="1435969" y="1850136"/>
                    <a:pt x="925068" y="1850136"/>
                  </a:cubicBezTo>
                  <a:cubicBezTo>
                    <a:pt x="414167" y="1850136"/>
                    <a:pt x="0" y="1435969"/>
                    <a:pt x="0" y="925068"/>
                  </a:cubicBezTo>
                  <a:cubicBezTo>
                    <a:pt x="0" y="414167"/>
                    <a:pt x="414167" y="0"/>
                    <a:pt x="925068" y="0"/>
                  </a:cubicBezTo>
                  <a:cubicBezTo>
                    <a:pt x="1435969" y="0"/>
                    <a:pt x="1850136" y="414167"/>
                    <a:pt x="1850136" y="92506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B3A13B5-67BA-DF18-1A72-A9D3BC872027}"/>
                </a:ext>
              </a:extLst>
            </p:cNvPr>
            <p:cNvSpPr/>
            <p:nvPr/>
          </p:nvSpPr>
          <p:spPr>
            <a:xfrm>
              <a:off x="7594698" y="962038"/>
              <a:ext cx="1652968" cy="1652968"/>
            </a:xfrm>
            <a:custGeom>
              <a:avLst/>
              <a:gdLst>
                <a:gd name="connsiteX0" fmla="*/ 1652969 w 1652968"/>
                <a:gd name="connsiteY0" fmla="*/ 826484 h 1652968"/>
                <a:gd name="connsiteX1" fmla="*/ 826484 w 1652968"/>
                <a:gd name="connsiteY1" fmla="*/ 1652969 h 1652968"/>
                <a:gd name="connsiteX2" fmla="*/ 0 w 1652968"/>
                <a:gd name="connsiteY2" fmla="*/ 826484 h 1652968"/>
                <a:gd name="connsiteX3" fmla="*/ 826484 w 1652968"/>
                <a:gd name="connsiteY3" fmla="*/ 0 h 1652968"/>
                <a:gd name="connsiteX4" fmla="*/ 1652969 w 1652968"/>
                <a:gd name="connsiteY4" fmla="*/ 826484 h 165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968" h="1652968">
                  <a:moveTo>
                    <a:pt x="1652969" y="826484"/>
                  </a:moveTo>
                  <a:cubicBezTo>
                    <a:pt x="1652969" y="1282939"/>
                    <a:pt x="1282939" y="1652969"/>
                    <a:pt x="826484" y="1652969"/>
                  </a:cubicBezTo>
                  <a:cubicBezTo>
                    <a:pt x="370030" y="1652969"/>
                    <a:pt x="0" y="1282939"/>
                    <a:pt x="0" y="826484"/>
                  </a:cubicBezTo>
                  <a:cubicBezTo>
                    <a:pt x="0" y="370030"/>
                    <a:pt x="370030" y="0"/>
                    <a:pt x="826484" y="0"/>
                  </a:cubicBezTo>
                  <a:cubicBezTo>
                    <a:pt x="1282939" y="0"/>
                    <a:pt x="1652969" y="370030"/>
                    <a:pt x="1652969" y="8264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6F10FEC-49EE-6679-F1D2-0023B3A9CE05}"/>
                </a:ext>
              </a:extLst>
            </p:cNvPr>
            <p:cNvSpPr/>
            <p:nvPr/>
          </p:nvSpPr>
          <p:spPr>
            <a:xfrm>
              <a:off x="7693282" y="1060622"/>
              <a:ext cx="1455801" cy="1455801"/>
            </a:xfrm>
            <a:custGeom>
              <a:avLst/>
              <a:gdLst>
                <a:gd name="connsiteX0" fmla="*/ 1455801 w 1455801"/>
                <a:gd name="connsiteY0" fmla="*/ 727901 h 1455801"/>
                <a:gd name="connsiteX1" fmla="*/ 727901 w 1455801"/>
                <a:gd name="connsiteY1" fmla="*/ 1455801 h 1455801"/>
                <a:gd name="connsiteX2" fmla="*/ 0 w 1455801"/>
                <a:gd name="connsiteY2" fmla="*/ 727901 h 1455801"/>
                <a:gd name="connsiteX3" fmla="*/ 727901 w 1455801"/>
                <a:gd name="connsiteY3" fmla="*/ 0 h 1455801"/>
                <a:gd name="connsiteX4" fmla="*/ 1455801 w 1455801"/>
                <a:gd name="connsiteY4" fmla="*/ 727901 h 145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801" h="1455801">
                  <a:moveTo>
                    <a:pt x="1455801" y="727901"/>
                  </a:moveTo>
                  <a:cubicBezTo>
                    <a:pt x="1455801" y="1129909"/>
                    <a:pt x="1129909" y="1455801"/>
                    <a:pt x="727901" y="1455801"/>
                  </a:cubicBezTo>
                  <a:cubicBezTo>
                    <a:pt x="325892" y="1455801"/>
                    <a:pt x="0" y="1129909"/>
                    <a:pt x="0" y="727901"/>
                  </a:cubicBezTo>
                  <a:cubicBezTo>
                    <a:pt x="0" y="325892"/>
                    <a:pt x="325892" y="0"/>
                    <a:pt x="727901" y="0"/>
                  </a:cubicBezTo>
                  <a:cubicBezTo>
                    <a:pt x="1129909" y="0"/>
                    <a:pt x="1455801" y="325892"/>
                    <a:pt x="1455801" y="727901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061D4B3-360F-D57E-223B-D894F581A1D2}"/>
                </a:ext>
              </a:extLst>
            </p:cNvPr>
            <p:cNvSpPr/>
            <p:nvPr/>
          </p:nvSpPr>
          <p:spPr>
            <a:xfrm>
              <a:off x="7791770" y="1159110"/>
              <a:ext cx="1258823" cy="1258823"/>
            </a:xfrm>
            <a:custGeom>
              <a:avLst/>
              <a:gdLst>
                <a:gd name="connsiteX0" fmla="*/ 1258824 w 1258823"/>
                <a:gd name="connsiteY0" fmla="*/ 629412 h 1258823"/>
                <a:gd name="connsiteX1" fmla="*/ 629412 w 1258823"/>
                <a:gd name="connsiteY1" fmla="*/ 1258824 h 1258823"/>
                <a:gd name="connsiteX2" fmla="*/ 0 w 1258823"/>
                <a:gd name="connsiteY2" fmla="*/ 629412 h 1258823"/>
                <a:gd name="connsiteX3" fmla="*/ 629412 w 1258823"/>
                <a:gd name="connsiteY3" fmla="*/ 0 h 1258823"/>
                <a:gd name="connsiteX4" fmla="*/ 1258824 w 1258823"/>
                <a:gd name="connsiteY4" fmla="*/ 629412 h 125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823" h="1258823">
                  <a:moveTo>
                    <a:pt x="1258824" y="629412"/>
                  </a:moveTo>
                  <a:cubicBezTo>
                    <a:pt x="1258824" y="977027"/>
                    <a:pt x="977027" y="1258824"/>
                    <a:pt x="629412" y="1258824"/>
                  </a:cubicBezTo>
                  <a:cubicBezTo>
                    <a:pt x="281797" y="1258824"/>
                    <a:pt x="0" y="977027"/>
                    <a:pt x="0" y="629412"/>
                  </a:cubicBezTo>
                  <a:cubicBezTo>
                    <a:pt x="0" y="281797"/>
                    <a:pt x="281797" y="0"/>
                    <a:pt x="629412" y="0"/>
                  </a:cubicBezTo>
                  <a:cubicBezTo>
                    <a:pt x="977027" y="0"/>
                    <a:pt x="1258824" y="281797"/>
                    <a:pt x="1258824" y="62941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13F48C8-96EE-C313-AED4-A9207E719B2B}"/>
                </a:ext>
              </a:extLst>
            </p:cNvPr>
            <p:cNvSpPr/>
            <p:nvPr/>
          </p:nvSpPr>
          <p:spPr>
            <a:xfrm>
              <a:off x="7890354" y="1257694"/>
              <a:ext cx="1061656" cy="1061656"/>
            </a:xfrm>
            <a:custGeom>
              <a:avLst/>
              <a:gdLst>
                <a:gd name="connsiteX0" fmla="*/ 1061657 w 1061656"/>
                <a:gd name="connsiteY0" fmla="*/ 530828 h 1061656"/>
                <a:gd name="connsiteX1" fmla="*/ 530828 w 1061656"/>
                <a:gd name="connsiteY1" fmla="*/ 1061657 h 1061656"/>
                <a:gd name="connsiteX2" fmla="*/ 0 w 1061656"/>
                <a:gd name="connsiteY2" fmla="*/ 530828 h 1061656"/>
                <a:gd name="connsiteX3" fmla="*/ 530828 w 1061656"/>
                <a:gd name="connsiteY3" fmla="*/ 0 h 1061656"/>
                <a:gd name="connsiteX4" fmla="*/ 1061657 w 1061656"/>
                <a:gd name="connsiteY4" fmla="*/ 530828 h 106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656" h="1061656">
                  <a:moveTo>
                    <a:pt x="1061657" y="530828"/>
                  </a:moveTo>
                  <a:cubicBezTo>
                    <a:pt x="1061657" y="823997"/>
                    <a:pt x="823997" y="1061657"/>
                    <a:pt x="530828" y="1061657"/>
                  </a:cubicBezTo>
                  <a:cubicBezTo>
                    <a:pt x="237660" y="1061657"/>
                    <a:pt x="0" y="823997"/>
                    <a:pt x="0" y="530828"/>
                  </a:cubicBezTo>
                  <a:cubicBezTo>
                    <a:pt x="0" y="237660"/>
                    <a:pt x="237660" y="0"/>
                    <a:pt x="530828" y="0"/>
                  </a:cubicBezTo>
                  <a:cubicBezTo>
                    <a:pt x="823997" y="0"/>
                    <a:pt x="1061657" y="237660"/>
                    <a:pt x="1061657" y="53082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D8C72C-56F6-6C6A-5A81-51791740D58D}"/>
                </a:ext>
              </a:extLst>
            </p:cNvPr>
            <p:cNvSpPr/>
            <p:nvPr/>
          </p:nvSpPr>
          <p:spPr>
            <a:xfrm>
              <a:off x="7988938" y="1356278"/>
              <a:ext cx="864488" cy="864488"/>
            </a:xfrm>
            <a:custGeom>
              <a:avLst/>
              <a:gdLst>
                <a:gd name="connsiteX0" fmla="*/ 864489 w 864488"/>
                <a:gd name="connsiteY0" fmla="*/ 432245 h 864488"/>
                <a:gd name="connsiteX1" fmla="*/ 432245 w 864488"/>
                <a:gd name="connsiteY1" fmla="*/ 864489 h 864488"/>
                <a:gd name="connsiteX2" fmla="*/ 0 w 864488"/>
                <a:gd name="connsiteY2" fmla="*/ 432245 h 864488"/>
                <a:gd name="connsiteX3" fmla="*/ 432245 w 864488"/>
                <a:gd name="connsiteY3" fmla="*/ 0 h 864488"/>
                <a:gd name="connsiteX4" fmla="*/ 864489 w 864488"/>
                <a:gd name="connsiteY4" fmla="*/ 432245 h 86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488" h="864488">
                  <a:moveTo>
                    <a:pt x="864489" y="432245"/>
                  </a:moveTo>
                  <a:cubicBezTo>
                    <a:pt x="864489" y="670967"/>
                    <a:pt x="670967" y="864489"/>
                    <a:pt x="432245" y="864489"/>
                  </a:cubicBezTo>
                  <a:cubicBezTo>
                    <a:pt x="193522" y="864489"/>
                    <a:pt x="0" y="670967"/>
                    <a:pt x="0" y="432245"/>
                  </a:cubicBezTo>
                  <a:cubicBezTo>
                    <a:pt x="0" y="193522"/>
                    <a:pt x="193523" y="0"/>
                    <a:pt x="432245" y="0"/>
                  </a:cubicBezTo>
                  <a:cubicBezTo>
                    <a:pt x="670967" y="0"/>
                    <a:pt x="864489" y="193523"/>
                    <a:pt x="864489" y="432245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32777D9-F4A7-C629-156E-D6D75C92BDED}"/>
                </a:ext>
              </a:extLst>
            </p:cNvPr>
            <p:cNvSpPr/>
            <p:nvPr/>
          </p:nvSpPr>
          <p:spPr>
            <a:xfrm>
              <a:off x="8087426" y="1454766"/>
              <a:ext cx="667511" cy="667511"/>
            </a:xfrm>
            <a:custGeom>
              <a:avLst/>
              <a:gdLst>
                <a:gd name="connsiteX0" fmla="*/ 667512 w 667511"/>
                <a:gd name="connsiteY0" fmla="*/ 333756 h 667511"/>
                <a:gd name="connsiteX1" fmla="*/ 333756 w 667511"/>
                <a:gd name="connsiteY1" fmla="*/ 667512 h 667511"/>
                <a:gd name="connsiteX2" fmla="*/ 0 w 667511"/>
                <a:gd name="connsiteY2" fmla="*/ 333756 h 667511"/>
                <a:gd name="connsiteX3" fmla="*/ 333756 w 667511"/>
                <a:gd name="connsiteY3" fmla="*/ 0 h 667511"/>
                <a:gd name="connsiteX4" fmla="*/ 667512 w 667511"/>
                <a:gd name="connsiteY4" fmla="*/ 333756 h 66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511" h="667511">
                  <a:moveTo>
                    <a:pt x="667512" y="333756"/>
                  </a:moveTo>
                  <a:cubicBezTo>
                    <a:pt x="667512" y="518084"/>
                    <a:pt x="518084" y="667512"/>
                    <a:pt x="333756" y="667512"/>
                  </a:cubicBezTo>
                  <a:cubicBezTo>
                    <a:pt x="149428" y="667512"/>
                    <a:pt x="0" y="518084"/>
                    <a:pt x="0" y="333756"/>
                  </a:cubicBezTo>
                  <a:cubicBezTo>
                    <a:pt x="0" y="149428"/>
                    <a:pt x="149428" y="0"/>
                    <a:pt x="333756" y="0"/>
                  </a:cubicBezTo>
                  <a:cubicBezTo>
                    <a:pt x="518084" y="0"/>
                    <a:pt x="667512" y="149428"/>
                    <a:pt x="667512" y="333756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494A876-5C74-6D9A-A57D-7E6437139846}"/>
                </a:ext>
              </a:extLst>
            </p:cNvPr>
            <p:cNvSpPr/>
            <p:nvPr/>
          </p:nvSpPr>
          <p:spPr>
            <a:xfrm>
              <a:off x="8186010" y="1553350"/>
              <a:ext cx="470344" cy="470344"/>
            </a:xfrm>
            <a:custGeom>
              <a:avLst/>
              <a:gdLst>
                <a:gd name="connsiteX0" fmla="*/ 470345 w 470344"/>
                <a:gd name="connsiteY0" fmla="*/ 235172 h 470344"/>
                <a:gd name="connsiteX1" fmla="*/ 235172 w 470344"/>
                <a:gd name="connsiteY1" fmla="*/ 470345 h 470344"/>
                <a:gd name="connsiteX2" fmla="*/ 0 w 470344"/>
                <a:gd name="connsiteY2" fmla="*/ 235172 h 470344"/>
                <a:gd name="connsiteX3" fmla="*/ 235172 w 470344"/>
                <a:gd name="connsiteY3" fmla="*/ 0 h 470344"/>
                <a:gd name="connsiteX4" fmla="*/ 470345 w 470344"/>
                <a:gd name="connsiteY4" fmla="*/ 235172 h 47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344" h="470344">
                  <a:moveTo>
                    <a:pt x="470345" y="235172"/>
                  </a:moveTo>
                  <a:cubicBezTo>
                    <a:pt x="470345" y="365054"/>
                    <a:pt x="365054" y="470345"/>
                    <a:pt x="235172" y="470345"/>
                  </a:cubicBezTo>
                  <a:cubicBezTo>
                    <a:pt x="105290" y="470345"/>
                    <a:pt x="0" y="365054"/>
                    <a:pt x="0" y="235172"/>
                  </a:cubicBezTo>
                  <a:cubicBezTo>
                    <a:pt x="0" y="105290"/>
                    <a:pt x="105290" y="0"/>
                    <a:pt x="235172" y="0"/>
                  </a:cubicBezTo>
                  <a:cubicBezTo>
                    <a:pt x="365054" y="0"/>
                    <a:pt x="470345" y="105290"/>
                    <a:pt x="470345" y="23517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51E11BE-6AEB-3F8E-7B33-CC27094FD7AE}"/>
                </a:ext>
              </a:extLst>
            </p:cNvPr>
            <p:cNvSpPr/>
            <p:nvPr/>
          </p:nvSpPr>
          <p:spPr>
            <a:xfrm>
              <a:off x="8284499" y="1651839"/>
              <a:ext cx="273367" cy="273367"/>
            </a:xfrm>
            <a:custGeom>
              <a:avLst/>
              <a:gdLst>
                <a:gd name="connsiteX0" fmla="*/ 273368 w 273367"/>
                <a:gd name="connsiteY0" fmla="*/ 136684 h 273367"/>
                <a:gd name="connsiteX1" fmla="*/ 136684 w 273367"/>
                <a:gd name="connsiteY1" fmla="*/ 273368 h 273367"/>
                <a:gd name="connsiteX2" fmla="*/ 0 w 273367"/>
                <a:gd name="connsiteY2" fmla="*/ 136684 h 273367"/>
                <a:gd name="connsiteX3" fmla="*/ 136684 w 273367"/>
                <a:gd name="connsiteY3" fmla="*/ 0 h 273367"/>
                <a:gd name="connsiteX4" fmla="*/ 273368 w 273367"/>
                <a:gd name="connsiteY4" fmla="*/ 136684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367" h="273367">
                  <a:moveTo>
                    <a:pt x="273368" y="136684"/>
                  </a:moveTo>
                  <a:cubicBezTo>
                    <a:pt x="273368" y="212172"/>
                    <a:pt x="212172" y="273368"/>
                    <a:pt x="136684" y="273368"/>
                  </a:cubicBezTo>
                  <a:cubicBezTo>
                    <a:pt x="61195" y="273368"/>
                    <a:pt x="0" y="212172"/>
                    <a:pt x="0" y="136684"/>
                  </a:cubicBezTo>
                  <a:cubicBezTo>
                    <a:pt x="0" y="61195"/>
                    <a:pt x="61195" y="0"/>
                    <a:pt x="136684" y="0"/>
                  </a:cubicBezTo>
                  <a:cubicBezTo>
                    <a:pt x="212172" y="0"/>
                    <a:pt x="273368" y="61195"/>
                    <a:pt x="273368" y="1366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747476-9B0F-7DEE-9D9A-ACAEB62C0093}"/>
                </a:ext>
              </a:extLst>
            </p:cNvPr>
            <p:cNvSpPr/>
            <p:nvPr/>
          </p:nvSpPr>
          <p:spPr>
            <a:xfrm>
              <a:off x="8383082" y="1750422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839E544B-2258-39D1-0FF6-E382E839D6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4" name="Date Placeholder 23">
            <a:extLst>
              <a:ext uri="{FF2B5EF4-FFF2-40B4-BE49-F238E27FC236}">
                <a16:creationId xmlns:a16="http://schemas.microsoft.com/office/drawing/2014/main" id="{46A8A41D-0432-A169-3EEB-25FE3BDFF0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7F557BE6-4DB6-9ABD-767E-4A3DCA88B9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EF2AE6B0-A635-B3CD-1977-7B302D84855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77397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04C7D8A4-00D2-D1B8-6A8F-31D45ECD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8217" y="4006549"/>
            <a:ext cx="3421415" cy="1956609"/>
          </a:xfrm>
        </p:spPr>
        <p:txBody>
          <a:bodyPr>
            <a:normAutofit/>
          </a:bodyPr>
          <a:lstStyle>
            <a:lvl1pPr marL="173736" indent="-173736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97D9AD-07AF-71DC-A723-FFF8EF6AE93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654" y="4006548"/>
            <a:ext cx="3392891" cy="1956609"/>
          </a:xfrm>
        </p:spPr>
        <p:txBody>
          <a:bodyPr>
            <a:normAutofit/>
          </a:bodyPr>
          <a:lstStyle>
            <a:lvl1pPr marL="173736" indent="-173736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B52C24B-2BF2-D08F-FBC6-86C6C5165079}"/>
              </a:ext>
            </a:extLst>
          </p:cNvPr>
          <p:cNvGrpSpPr/>
          <p:nvPr userDrawn="1"/>
        </p:nvGrpSpPr>
        <p:grpSpPr>
          <a:xfrm>
            <a:off x="4230062" y="1844857"/>
            <a:ext cx="3721100" cy="4118300"/>
            <a:chOff x="4230062" y="1844857"/>
            <a:chExt cx="3721100" cy="419211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1675058-977C-7818-4E72-6853177166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30062" y="1844857"/>
              <a:ext cx="0" cy="4192118"/>
            </a:xfrm>
            <a:prstGeom prst="line">
              <a:avLst/>
            </a:prstGeom>
            <a:noFill/>
            <a:ln w="12700" cap="rnd">
              <a:solidFill>
                <a:srgbClr val="D0CB17"/>
              </a:solidFill>
              <a:prstDash val="solid"/>
              <a:miter/>
            </a:ln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F9F519F-845E-93C0-B216-633DAF92B2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51162" y="1844857"/>
              <a:ext cx="0" cy="4192118"/>
            </a:xfrm>
            <a:prstGeom prst="line">
              <a:avLst/>
            </a:prstGeom>
            <a:noFill/>
            <a:ln w="12700" cap="rnd">
              <a:solidFill>
                <a:srgbClr val="D0CB17"/>
              </a:solidFill>
              <a:prstDash val="solid"/>
              <a:miter/>
            </a:ln>
          </p:spPr>
        </p:cxnSp>
      </p:grpSp>
      <p:grpSp>
        <p:nvGrpSpPr>
          <p:cNvPr id="17" name="Graphic 10">
            <a:extLst>
              <a:ext uri="{FF2B5EF4-FFF2-40B4-BE49-F238E27FC236}">
                <a16:creationId xmlns:a16="http://schemas.microsoft.com/office/drawing/2014/main" id="{4A349429-EB9F-EE58-58A0-86A3B77C123A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5AF1EA-00E4-C6AE-481E-406A986B980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614C77-3C1A-F4C7-466A-407000AD05D5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62A8245-6E75-8964-1549-0D932F23D522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E1BB08B-6EA5-DF6D-B769-D0754A34B109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28E4BF4-179D-0AE7-81D5-FE1745609D3D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9AAE41E-1B9C-B5F9-A148-081177B80D46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001806A-C44B-2510-C062-3692644245A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3A5D31D-3104-B3C6-FE9B-AC04FC452416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7AF714F-D5F6-0910-3412-DE9DA201F806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5F3F65D-42B0-D4D7-AABD-BD6D462F7AE0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7A1ED60-FDAC-1D8E-8A43-D3D3C259A376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7FBC2CD-E8FF-E91C-66D3-A74AD25E88B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0897C4D-7E38-673C-0645-53DC870A56B2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34DADCC-DC79-FE7B-0E69-2FA482F3BDEB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97DD9CE0-3FC8-4940-4AE2-F3780B0A73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7888" y="4006548"/>
            <a:ext cx="3442612" cy="1956609"/>
          </a:xfrm>
        </p:spPr>
        <p:txBody>
          <a:bodyPr>
            <a:normAutofit/>
          </a:bodyPr>
          <a:lstStyle>
            <a:lvl1pPr marL="173736" indent="-173736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04588A37-2D52-345A-C535-1D25835667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5F69D864-6F73-DDD9-645B-552EA4F524C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395E2FCE-97B2-2551-65CA-867E569ABC0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64EC907F-85EF-F010-BC0D-EF7059873BF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ACEB0CB-FDBD-41C2-37F9-245279AE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2" y="386291"/>
            <a:ext cx="11032068" cy="89858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4D873C8-0FFC-9081-B8F5-8FD0924039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432" y="1347443"/>
            <a:ext cx="3440113" cy="4635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1FA29C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3644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28B42-5C89-CE53-3D5E-B9C42DF5C8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2" y="386291"/>
            <a:ext cx="11032068" cy="89858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7F1875-F5A3-7FA8-F9BB-EA64FD352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432" y="1347443"/>
            <a:ext cx="3440113" cy="4635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1FA29C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6" name="Graphic 10">
            <a:extLst>
              <a:ext uri="{FF2B5EF4-FFF2-40B4-BE49-F238E27FC236}">
                <a16:creationId xmlns:a16="http://schemas.microsoft.com/office/drawing/2014/main" id="{3E29288C-440E-B2B6-5153-528E0326D58F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01012EC-AF50-7DA2-2B7E-58E1795B59CD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7AE3A9D-3205-D3F3-02B5-06EECF642C6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1B9C583-8EEC-D199-3C1C-FBE103D1EAEC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62966F-D97B-EAB5-D858-CE5BBBD8B39C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610B446-6438-AF2E-6165-90429607C4D0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D3BD1-453A-474A-139F-28134707AF6B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0A90EAB-F07A-D5F2-D7BF-9C3532E249C5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A7001F5-E038-F552-456F-C3A9583C6294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76EA3E6-DEA6-1106-B313-C11DB4074F8E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C5C1A6A-B9EC-C407-2FB8-80519992067B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FF1682A-1467-DC20-1CE2-B74A1D5C7C05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75F4D14-069E-B8EF-C88E-77106226D5E3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82DC930-E848-7629-EFC7-D3EA8D13861D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CDFD0CC-5B3B-00A8-4107-05FBC29AC3F4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9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9" name="Content Placeholder 48">
            <a:extLst>
              <a:ext uri="{FF2B5EF4-FFF2-40B4-BE49-F238E27FC236}">
                <a16:creationId xmlns:a16="http://schemas.microsoft.com/office/drawing/2014/main" id="{5B58E6D5-A3F5-69CF-6CA8-9C021CEC5BE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1025" y="1810993"/>
            <a:ext cx="11044238" cy="4056407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E52575A-B2E0-A07D-BF73-8128CC512B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5" name="Date Placeholder 54">
            <a:extLst>
              <a:ext uri="{FF2B5EF4-FFF2-40B4-BE49-F238E27FC236}">
                <a16:creationId xmlns:a16="http://schemas.microsoft.com/office/drawing/2014/main" id="{3B247A33-92EC-75A3-3521-617A25BE79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56" name="Footer Placeholder 55">
            <a:extLst>
              <a:ext uri="{FF2B5EF4-FFF2-40B4-BE49-F238E27FC236}">
                <a16:creationId xmlns:a16="http://schemas.microsoft.com/office/drawing/2014/main" id="{90AF03BE-13BF-3231-3781-1799D60F32E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8538E561-24EF-7290-CF40-64BDF688F2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634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Table/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CF72198-54FD-C390-D717-165EADC797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168" y="2676617"/>
            <a:ext cx="5159340" cy="3190783"/>
          </a:xfrm>
        </p:spPr>
        <p:txBody>
          <a:bodyPr/>
          <a:lstStyle>
            <a:lvl1pPr marL="173736" indent="-17373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600"/>
            </a:lvl1pPr>
            <a:lvl2pPr marL="173736" indent="-17373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/>
            </a:lvl2pPr>
            <a:lvl3pPr marL="173736" indent="-17373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/>
            </a:lvl3pPr>
            <a:lvl4pPr marL="173736" indent="-17373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/>
            </a:lvl4pPr>
          </a:lstStyle>
          <a:p>
            <a:pPr lvl="0"/>
            <a:r>
              <a:rPr lang="en-US"/>
              <a:t>Text 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2DD6392E-E547-1D12-4553-373EE26ECFA0}"/>
              </a:ext>
            </a:extLst>
          </p:cNvPr>
          <p:cNvSpPr/>
          <p:nvPr userDrawn="1"/>
        </p:nvSpPr>
        <p:spPr>
          <a:xfrm>
            <a:off x="328421" y="293014"/>
            <a:ext cx="11535159" cy="1008893"/>
          </a:xfrm>
          <a:prstGeom prst="round2DiagRect">
            <a:avLst/>
          </a:prstGeom>
          <a:solidFill>
            <a:srgbClr val="CAE6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SemiBold"/>
              <a:ea typeface="+mn-ea"/>
              <a:cs typeface="Verdana"/>
              <a:sym typeface="Arial"/>
            </a:endParaRPr>
          </a:p>
        </p:txBody>
      </p:sp>
      <p:grpSp>
        <p:nvGrpSpPr>
          <p:cNvPr id="7" name="Graphic 10">
            <a:extLst>
              <a:ext uri="{FF2B5EF4-FFF2-40B4-BE49-F238E27FC236}">
                <a16:creationId xmlns:a16="http://schemas.microsoft.com/office/drawing/2014/main" id="{DA39BC8E-A4A2-3EC1-264E-994585271675}"/>
              </a:ext>
            </a:extLst>
          </p:cNvPr>
          <p:cNvGrpSpPr/>
          <p:nvPr userDrawn="1"/>
        </p:nvGrpSpPr>
        <p:grpSpPr>
          <a:xfrm rot="19800000">
            <a:off x="8843691" y="-1764058"/>
            <a:ext cx="5623058" cy="2811529"/>
            <a:chOff x="6919912" y="3216683"/>
            <a:chExt cx="2628900" cy="1314450"/>
          </a:xfrm>
          <a:noFill/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74408EF-E1BF-DE44-D3E0-F4B2291F95E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A91148A-CEC6-85FA-4736-AA57F58ECB82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3E5C7F2-A531-1C2E-DBAA-56C3F533AF45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955C602-BD4E-0214-6BE0-1B4A1B05F693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8AD76D9-ACE1-60A1-AC7F-E9400902A893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4FD9965-8FC3-09A1-95BB-9E241FD8E6A1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E17E19-C974-E4AD-3AA3-AF70DE918018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4DD8C61-10E7-CAAC-4E8E-383B00098EA6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9626366-A3A1-ED31-908E-D0BED5A36765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584E0BD-32F3-9D80-B8EF-EDB07028230A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A65CA79-ADB7-AF52-7540-55266E717463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97B8CF4-C885-0EEB-D28F-4D6ECDBF76A8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E5E59FE-BA63-354B-C876-EF2A49F9BC9B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BC90861-EF6B-CDB9-7702-00F1072C9C8D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E1F1F3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EAB692B-9058-E817-C99D-662010C29A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9544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FDCBE1F-A26E-A8F4-BC65-BC1E7E21CD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766740"/>
            <a:ext cx="5132275" cy="909877"/>
          </a:xfrm>
        </p:spPr>
        <p:txBody>
          <a:bodyPr>
            <a:normAutofit/>
          </a:bodyPr>
          <a:lstStyle>
            <a:lvl1pPr marL="0" indent="0">
              <a:lnSpc>
                <a:spcPct val="107000"/>
              </a:lnSpc>
              <a:spcBef>
                <a:spcPts val="100"/>
              </a:spcBef>
              <a:buFont typeface="Arial" panose="020B0604020202020204" pitchFamily="34" charset="0"/>
              <a:buNone/>
              <a:defRPr sz="1800">
                <a:solidFill>
                  <a:srgbClr val="09544F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Content Placeholder 34">
            <a:extLst>
              <a:ext uri="{FF2B5EF4-FFF2-40B4-BE49-F238E27FC236}">
                <a16:creationId xmlns:a16="http://schemas.microsoft.com/office/drawing/2014/main" id="{1CC7B363-1187-4736-13B5-30D95849FF6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00" y="1766740"/>
            <a:ext cx="5514832" cy="41006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42" name="Text Placeholder 31">
            <a:extLst>
              <a:ext uri="{FF2B5EF4-FFF2-40B4-BE49-F238E27FC236}">
                <a16:creationId xmlns:a16="http://schemas.microsoft.com/office/drawing/2014/main" id="{BC8275B1-63E3-C8A7-BDEA-F8A9B98E2A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43" name="Date Placeholder 42">
            <a:extLst>
              <a:ext uri="{FF2B5EF4-FFF2-40B4-BE49-F238E27FC236}">
                <a16:creationId xmlns:a16="http://schemas.microsoft.com/office/drawing/2014/main" id="{BB9932AE-6F2E-79A1-59C2-8CEDD7B448F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4" name="Footer Placeholder 43">
            <a:extLst>
              <a:ext uri="{FF2B5EF4-FFF2-40B4-BE49-F238E27FC236}">
                <a16:creationId xmlns:a16="http://schemas.microsoft.com/office/drawing/2014/main" id="{45A23EC6-E150-ED2C-3641-B70E29DF4D5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57AAD632-A6D1-3591-8727-B030897967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8852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715AFB3-4328-7134-6086-E5CDBC9F2F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" y="-12002"/>
            <a:ext cx="4623719" cy="6127362"/>
          </a:xfrm>
          <a:custGeom>
            <a:avLst/>
            <a:gdLst>
              <a:gd name="connsiteX0" fmla="*/ 0 w 4623719"/>
              <a:gd name="connsiteY0" fmla="*/ 0 h 6127362"/>
              <a:gd name="connsiteX1" fmla="*/ 4619898 w 4623719"/>
              <a:gd name="connsiteY1" fmla="*/ 0 h 6127362"/>
              <a:gd name="connsiteX2" fmla="*/ 4623719 w 4623719"/>
              <a:gd name="connsiteY2" fmla="*/ 181392 h 6127362"/>
              <a:gd name="connsiteX3" fmla="*/ 12576 w 4623719"/>
              <a:gd name="connsiteY3" fmla="*/ 6125003 h 6127362"/>
              <a:gd name="connsiteX4" fmla="*/ 0 w 4623719"/>
              <a:gd name="connsiteY4" fmla="*/ 6127362 h 612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3719" h="6127362">
                <a:moveTo>
                  <a:pt x="0" y="0"/>
                </a:moveTo>
                <a:lnTo>
                  <a:pt x="4619898" y="0"/>
                </a:lnTo>
                <a:lnTo>
                  <a:pt x="4623719" y="181392"/>
                </a:lnTo>
                <a:cubicBezTo>
                  <a:pt x="4623719" y="3113201"/>
                  <a:pt x="2644150" y="5559290"/>
                  <a:pt x="12576" y="6125003"/>
                </a:cubicBezTo>
                <a:lnTo>
                  <a:pt x="0" y="6127362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</a:t>
            </a:r>
            <a:br>
              <a:rPr lang="en-US"/>
            </a:br>
            <a:r>
              <a:rPr lang="en-US"/>
              <a:t>drop to add imag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6C2F514-906F-084A-503A-27D516820A26}"/>
              </a:ext>
            </a:extLst>
          </p:cNvPr>
          <p:cNvGrpSpPr/>
          <p:nvPr userDrawn="1"/>
        </p:nvGrpSpPr>
        <p:grpSpPr>
          <a:xfrm>
            <a:off x="1727214" y="-2968235"/>
            <a:ext cx="4767374" cy="4767374"/>
            <a:chOff x="7101970" y="469310"/>
            <a:chExt cx="2638425" cy="2638425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23FB06B-4513-1BC6-DEAB-ABB64AAB500A}"/>
                </a:ext>
              </a:extLst>
            </p:cNvPr>
            <p:cNvSpPr/>
            <p:nvPr/>
          </p:nvSpPr>
          <p:spPr>
            <a:xfrm>
              <a:off x="7101970" y="469310"/>
              <a:ext cx="2638425" cy="2638425"/>
            </a:xfrm>
            <a:custGeom>
              <a:avLst/>
              <a:gdLst>
                <a:gd name="connsiteX0" fmla="*/ 2638425 w 2638425"/>
                <a:gd name="connsiteY0" fmla="*/ 1319213 h 2638425"/>
                <a:gd name="connsiteX1" fmla="*/ 1319213 w 2638425"/>
                <a:gd name="connsiteY1" fmla="*/ 2638425 h 2638425"/>
                <a:gd name="connsiteX2" fmla="*/ 0 w 2638425"/>
                <a:gd name="connsiteY2" fmla="*/ 1319213 h 2638425"/>
                <a:gd name="connsiteX3" fmla="*/ 1319213 w 2638425"/>
                <a:gd name="connsiteY3" fmla="*/ 0 h 2638425"/>
                <a:gd name="connsiteX4" fmla="*/ 2638425 w 2638425"/>
                <a:gd name="connsiteY4" fmla="*/ 1319213 h 26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5" h="2638425">
                  <a:moveTo>
                    <a:pt x="2638425" y="1319213"/>
                  </a:moveTo>
                  <a:cubicBezTo>
                    <a:pt x="2638425" y="2047794"/>
                    <a:pt x="2047794" y="2638425"/>
                    <a:pt x="1319213" y="2638425"/>
                  </a:cubicBezTo>
                  <a:cubicBezTo>
                    <a:pt x="590632" y="2638425"/>
                    <a:pt x="0" y="2047794"/>
                    <a:pt x="0" y="1319213"/>
                  </a:cubicBezTo>
                  <a:cubicBezTo>
                    <a:pt x="0" y="590632"/>
                    <a:pt x="590632" y="0"/>
                    <a:pt x="1319213" y="0"/>
                  </a:cubicBezTo>
                  <a:cubicBezTo>
                    <a:pt x="2047794" y="0"/>
                    <a:pt x="2638425" y="590632"/>
                    <a:pt x="2638425" y="1319213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4C60767-23A5-2C6C-BDB7-93AC8B8A9460}"/>
                </a:ext>
              </a:extLst>
            </p:cNvPr>
            <p:cNvSpPr/>
            <p:nvPr/>
          </p:nvSpPr>
          <p:spPr>
            <a:xfrm>
              <a:off x="7200554" y="567894"/>
              <a:ext cx="2441257" cy="2441257"/>
            </a:xfrm>
            <a:custGeom>
              <a:avLst/>
              <a:gdLst>
                <a:gd name="connsiteX0" fmla="*/ 2441258 w 2441257"/>
                <a:gd name="connsiteY0" fmla="*/ 1220629 h 2441257"/>
                <a:gd name="connsiteX1" fmla="*/ 1220629 w 2441257"/>
                <a:gd name="connsiteY1" fmla="*/ 2441258 h 2441257"/>
                <a:gd name="connsiteX2" fmla="*/ 0 w 2441257"/>
                <a:gd name="connsiteY2" fmla="*/ 1220629 h 2441257"/>
                <a:gd name="connsiteX3" fmla="*/ 1220629 w 2441257"/>
                <a:gd name="connsiteY3" fmla="*/ 0 h 2441257"/>
                <a:gd name="connsiteX4" fmla="*/ 2441258 w 2441257"/>
                <a:gd name="connsiteY4" fmla="*/ 1220629 h 244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257" h="2441257">
                  <a:moveTo>
                    <a:pt x="2441258" y="1220629"/>
                  </a:moveTo>
                  <a:cubicBezTo>
                    <a:pt x="2441258" y="1894763"/>
                    <a:pt x="1894763" y="2441258"/>
                    <a:pt x="1220629" y="2441258"/>
                  </a:cubicBezTo>
                  <a:cubicBezTo>
                    <a:pt x="546494" y="2441258"/>
                    <a:pt x="0" y="1894763"/>
                    <a:pt x="0" y="1220629"/>
                  </a:cubicBezTo>
                  <a:cubicBezTo>
                    <a:pt x="0" y="546494"/>
                    <a:pt x="546494" y="0"/>
                    <a:pt x="1220629" y="0"/>
                  </a:cubicBezTo>
                  <a:cubicBezTo>
                    <a:pt x="1894763" y="0"/>
                    <a:pt x="2441258" y="546494"/>
                    <a:pt x="2441258" y="1220629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B6DA644-ECBA-D526-E86F-31FCF26C719D}"/>
                </a:ext>
              </a:extLst>
            </p:cNvPr>
            <p:cNvSpPr/>
            <p:nvPr/>
          </p:nvSpPr>
          <p:spPr>
            <a:xfrm>
              <a:off x="7299042" y="666382"/>
              <a:ext cx="2244280" cy="2244280"/>
            </a:xfrm>
            <a:custGeom>
              <a:avLst/>
              <a:gdLst>
                <a:gd name="connsiteX0" fmla="*/ 2244281 w 2244280"/>
                <a:gd name="connsiteY0" fmla="*/ 1122140 h 2244280"/>
                <a:gd name="connsiteX1" fmla="*/ 1122140 w 2244280"/>
                <a:gd name="connsiteY1" fmla="*/ 2244281 h 2244280"/>
                <a:gd name="connsiteX2" fmla="*/ 0 w 2244280"/>
                <a:gd name="connsiteY2" fmla="*/ 1122140 h 2244280"/>
                <a:gd name="connsiteX3" fmla="*/ 1122140 w 2244280"/>
                <a:gd name="connsiteY3" fmla="*/ 0 h 2244280"/>
                <a:gd name="connsiteX4" fmla="*/ 2244281 w 2244280"/>
                <a:gd name="connsiteY4" fmla="*/ 1122140 h 224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4280" h="2244280">
                  <a:moveTo>
                    <a:pt x="2244281" y="1122140"/>
                  </a:moveTo>
                  <a:cubicBezTo>
                    <a:pt x="2244281" y="1741881"/>
                    <a:pt x="1741881" y="2244281"/>
                    <a:pt x="1122140" y="2244281"/>
                  </a:cubicBezTo>
                  <a:cubicBezTo>
                    <a:pt x="502399" y="2244281"/>
                    <a:pt x="0" y="1741881"/>
                    <a:pt x="0" y="1122140"/>
                  </a:cubicBezTo>
                  <a:cubicBezTo>
                    <a:pt x="0" y="502399"/>
                    <a:pt x="502399" y="0"/>
                    <a:pt x="1122140" y="0"/>
                  </a:cubicBezTo>
                  <a:cubicBezTo>
                    <a:pt x="1741881" y="0"/>
                    <a:pt x="2244281" y="502399"/>
                    <a:pt x="2244281" y="112214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C10950-8F9F-70F9-C3D7-A245A56C321E}"/>
                </a:ext>
              </a:extLst>
            </p:cNvPr>
            <p:cNvSpPr/>
            <p:nvPr/>
          </p:nvSpPr>
          <p:spPr>
            <a:xfrm>
              <a:off x="7397626" y="764966"/>
              <a:ext cx="2047112" cy="2047112"/>
            </a:xfrm>
            <a:custGeom>
              <a:avLst/>
              <a:gdLst>
                <a:gd name="connsiteX0" fmla="*/ 2047113 w 2047112"/>
                <a:gd name="connsiteY0" fmla="*/ 1023557 h 2047112"/>
                <a:gd name="connsiteX1" fmla="*/ 1023557 w 2047112"/>
                <a:gd name="connsiteY1" fmla="*/ 2047113 h 2047112"/>
                <a:gd name="connsiteX2" fmla="*/ 0 w 2047112"/>
                <a:gd name="connsiteY2" fmla="*/ 1023557 h 2047112"/>
                <a:gd name="connsiteX3" fmla="*/ 1023557 w 2047112"/>
                <a:gd name="connsiteY3" fmla="*/ 0 h 2047112"/>
                <a:gd name="connsiteX4" fmla="*/ 2047113 w 2047112"/>
                <a:gd name="connsiteY4" fmla="*/ 1023557 h 20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7112" h="2047112">
                  <a:moveTo>
                    <a:pt x="2047113" y="1023557"/>
                  </a:moveTo>
                  <a:cubicBezTo>
                    <a:pt x="2047113" y="1588851"/>
                    <a:pt x="1588851" y="2047113"/>
                    <a:pt x="1023557" y="2047113"/>
                  </a:cubicBezTo>
                  <a:cubicBezTo>
                    <a:pt x="458262" y="2047113"/>
                    <a:pt x="0" y="1588851"/>
                    <a:pt x="0" y="1023557"/>
                  </a:cubicBezTo>
                  <a:cubicBezTo>
                    <a:pt x="0" y="458262"/>
                    <a:pt x="458262" y="0"/>
                    <a:pt x="1023557" y="0"/>
                  </a:cubicBezTo>
                  <a:cubicBezTo>
                    <a:pt x="1588851" y="0"/>
                    <a:pt x="2047113" y="458262"/>
                    <a:pt x="2047113" y="1023557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D58E425-ADB4-99B6-BDD4-64C1A22674BA}"/>
                </a:ext>
              </a:extLst>
            </p:cNvPr>
            <p:cNvSpPr/>
            <p:nvPr/>
          </p:nvSpPr>
          <p:spPr>
            <a:xfrm>
              <a:off x="7496114" y="863454"/>
              <a:ext cx="1850136" cy="1850136"/>
            </a:xfrm>
            <a:custGeom>
              <a:avLst/>
              <a:gdLst>
                <a:gd name="connsiteX0" fmla="*/ 1850136 w 1850136"/>
                <a:gd name="connsiteY0" fmla="*/ 925068 h 1850136"/>
                <a:gd name="connsiteX1" fmla="*/ 925068 w 1850136"/>
                <a:gd name="connsiteY1" fmla="*/ 1850136 h 1850136"/>
                <a:gd name="connsiteX2" fmla="*/ 0 w 1850136"/>
                <a:gd name="connsiteY2" fmla="*/ 925068 h 1850136"/>
                <a:gd name="connsiteX3" fmla="*/ 925068 w 1850136"/>
                <a:gd name="connsiteY3" fmla="*/ 0 h 1850136"/>
                <a:gd name="connsiteX4" fmla="*/ 1850136 w 1850136"/>
                <a:gd name="connsiteY4" fmla="*/ 925068 h 185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136" h="1850136">
                  <a:moveTo>
                    <a:pt x="1850136" y="925068"/>
                  </a:moveTo>
                  <a:cubicBezTo>
                    <a:pt x="1850136" y="1435969"/>
                    <a:pt x="1435969" y="1850136"/>
                    <a:pt x="925068" y="1850136"/>
                  </a:cubicBezTo>
                  <a:cubicBezTo>
                    <a:pt x="414167" y="1850136"/>
                    <a:pt x="0" y="1435969"/>
                    <a:pt x="0" y="925068"/>
                  </a:cubicBezTo>
                  <a:cubicBezTo>
                    <a:pt x="0" y="414167"/>
                    <a:pt x="414167" y="0"/>
                    <a:pt x="925068" y="0"/>
                  </a:cubicBezTo>
                  <a:cubicBezTo>
                    <a:pt x="1435969" y="0"/>
                    <a:pt x="1850136" y="414167"/>
                    <a:pt x="1850136" y="92506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E3E40C-5B71-F1F4-9C05-955F34BAB465}"/>
                </a:ext>
              </a:extLst>
            </p:cNvPr>
            <p:cNvSpPr/>
            <p:nvPr/>
          </p:nvSpPr>
          <p:spPr>
            <a:xfrm>
              <a:off x="7594698" y="962038"/>
              <a:ext cx="1652968" cy="1652968"/>
            </a:xfrm>
            <a:custGeom>
              <a:avLst/>
              <a:gdLst>
                <a:gd name="connsiteX0" fmla="*/ 1652969 w 1652968"/>
                <a:gd name="connsiteY0" fmla="*/ 826484 h 1652968"/>
                <a:gd name="connsiteX1" fmla="*/ 826484 w 1652968"/>
                <a:gd name="connsiteY1" fmla="*/ 1652969 h 1652968"/>
                <a:gd name="connsiteX2" fmla="*/ 0 w 1652968"/>
                <a:gd name="connsiteY2" fmla="*/ 826484 h 1652968"/>
                <a:gd name="connsiteX3" fmla="*/ 826484 w 1652968"/>
                <a:gd name="connsiteY3" fmla="*/ 0 h 1652968"/>
                <a:gd name="connsiteX4" fmla="*/ 1652969 w 1652968"/>
                <a:gd name="connsiteY4" fmla="*/ 826484 h 165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968" h="1652968">
                  <a:moveTo>
                    <a:pt x="1652969" y="826484"/>
                  </a:moveTo>
                  <a:cubicBezTo>
                    <a:pt x="1652969" y="1282939"/>
                    <a:pt x="1282939" y="1652969"/>
                    <a:pt x="826484" y="1652969"/>
                  </a:cubicBezTo>
                  <a:cubicBezTo>
                    <a:pt x="370030" y="1652969"/>
                    <a:pt x="0" y="1282939"/>
                    <a:pt x="0" y="826484"/>
                  </a:cubicBezTo>
                  <a:cubicBezTo>
                    <a:pt x="0" y="370030"/>
                    <a:pt x="370030" y="0"/>
                    <a:pt x="826484" y="0"/>
                  </a:cubicBezTo>
                  <a:cubicBezTo>
                    <a:pt x="1282939" y="0"/>
                    <a:pt x="1652969" y="370030"/>
                    <a:pt x="1652969" y="8264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26A63DE-102D-58EE-D7DE-6322066DB2CC}"/>
                </a:ext>
              </a:extLst>
            </p:cNvPr>
            <p:cNvSpPr/>
            <p:nvPr/>
          </p:nvSpPr>
          <p:spPr>
            <a:xfrm>
              <a:off x="7693282" y="1060622"/>
              <a:ext cx="1455801" cy="1455801"/>
            </a:xfrm>
            <a:custGeom>
              <a:avLst/>
              <a:gdLst>
                <a:gd name="connsiteX0" fmla="*/ 1455801 w 1455801"/>
                <a:gd name="connsiteY0" fmla="*/ 727901 h 1455801"/>
                <a:gd name="connsiteX1" fmla="*/ 727901 w 1455801"/>
                <a:gd name="connsiteY1" fmla="*/ 1455801 h 1455801"/>
                <a:gd name="connsiteX2" fmla="*/ 0 w 1455801"/>
                <a:gd name="connsiteY2" fmla="*/ 727901 h 1455801"/>
                <a:gd name="connsiteX3" fmla="*/ 727901 w 1455801"/>
                <a:gd name="connsiteY3" fmla="*/ 0 h 1455801"/>
                <a:gd name="connsiteX4" fmla="*/ 1455801 w 1455801"/>
                <a:gd name="connsiteY4" fmla="*/ 727901 h 145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801" h="1455801">
                  <a:moveTo>
                    <a:pt x="1455801" y="727901"/>
                  </a:moveTo>
                  <a:cubicBezTo>
                    <a:pt x="1455801" y="1129909"/>
                    <a:pt x="1129909" y="1455801"/>
                    <a:pt x="727901" y="1455801"/>
                  </a:cubicBezTo>
                  <a:cubicBezTo>
                    <a:pt x="325892" y="1455801"/>
                    <a:pt x="0" y="1129909"/>
                    <a:pt x="0" y="727901"/>
                  </a:cubicBezTo>
                  <a:cubicBezTo>
                    <a:pt x="0" y="325892"/>
                    <a:pt x="325892" y="0"/>
                    <a:pt x="727901" y="0"/>
                  </a:cubicBezTo>
                  <a:cubicBezTo>
                    <a:pt x="1129909" y="0"/>
                    <a:pt x="1455801" y="325892"/>
                    <a:pt x="1455801" y="727901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C2E62F3-092F-0A53-23F0-03ADEDB63996}"/>
                </a:ext>
              </a:extLst>
            </p:cNvPr>
            <p:cNvSpPr/>
            <p:nvPr/>
          </p:nvSpPr>
          <p:spPr>
            <a:xfrm>
              <a:off x="7791770" y="1159110"/>
              <a:ext cx="1258823" cy="1258823"/>
            </a:xfrm>
            <a:custGeom>
              <a:avLst/>
              <a:gdLst>
                <a:gd name="connsiteX0" fmla="*/ 1258824 w 1258823"/>
                <a:gd name="connsiteY0" fmla="*/ 629412 h 1258823"/>
                <a:gd name="connsiteX1" fmla="*/ 629412 w 1258823"/>
                <a:gd name="connsiteY1" fmla="*/ 1258824 h 1258823"/>
                <a:gd name="connsiteX2" fmla="*/ 0 w 1258823"/>
                <a:gd name="connsiteY2" fmla="*/ 629412 h 1258823"/>
                <a:gd name="connsiteX3" fmla="*/ 629412 w 1258823"/>
                <a:gd name="connsiteY3" fmla="*/ 0 h 1258823"/>
                <a:gd name="connsiteX4" fmla="*/ 1258824 w 1258823"/>
                <a:gd name="connsiteY4" fmla="*/ 629412 h 125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823" h="1258823">
                  <a:moveTo>
                    <a:pt x="1258824" y="629412"/>
                  </a:moveTo>
                  <a:cubicBezTo>
                    <a:pt x="1258824" y="977027"/>
                    <a:pt x="977027" y="1258824"/>
                    <a:pt x="629412" y="1258824"/>
                  </a:cubicBezTo>
                  <a:cubicBezTo>
                    <a:pt x="281797" y="1258824"/>
                    <a:pt x="0" y="977027"/>
                    <a:pt x="0" y="629412"/>
                  </a:cubicBezTo>
                  <a:cubicBezTo>
                    <a:pt x="0" y="281797"/>
                    <a:pt x="281797" y="0"/>
                    <a:pt x="629412" y="0"/>
                  </a:cubicBezTo>
                  <a:cubicBezTo>
                    <a:pt x="977027" y="0"/>
                    <a:pt x="1258824" y="281797"/>
                    <a:pt x="1258824" y="62941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53D5AD-F94B-D515-DD55-6BCD86BD47B9}"/>
                </a:ext>
              </a:extLst>
            </p:cNvPr>
            <p:cNvSpPr/>
            <p:nvPr/>
          </p:nvSpPr>
          <p:spPr>
            <a:xfrm>
              <a:off x="7890354" y="1257694"/>
              <a:ext cx="1061656" cy="1061656"/>
            </a:xfrm>
            <a:custGeom>
              <a:avLst/>
              <a:gdLst>
                <a:gd name="connsiteX0" fmla="*/ 1061657 w 1061656"/>
                <a:gd name="connsiteY0" fmla="*/ 530828 h 1061656"/>
                <a:gd name="connsiteX1" fmla="*/ 530828 w 1061656"/>
                <a:gd name="connsiteY1" fmla="*/ 1061657 h 1061656"/>
                <a:gd name="connsiteX2" fmla="*/ 0 w 1061656"/>
                <a:gd name="connsiteY2" fmla="*/ 530828 h 1061656"/>
                <a:gd name="connsiteX3" fmla="*/ 530828 w 1061656"/>
                <a:gd name="connsiteY3" fmla="*/ 0 h 1061656"/>
                <a:gd name="connsiteX4" fmla="*/ 1061657 w 1061656"/>
                <a:gd name="connsiteY4" fmla="*/ 530828 h 106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656" h="1061656">
                  <a:moveTo>
                    <a:pt x="1061657" y="530828"/>
                  </a:moveTo>
                  <a:cubicBezTo>
                    <a:pt x="1061657" y="823997"/>
                    <a:pt x="823997" y="1061657"/>
                    <a:pt x="530828" y="1061657"/>
                  </a:cubicBezTo>
                  <a:cubicBezTo>
                    <a:pt x="237660" y="1061657"/>
                    <a:pt x="0" y="823997"/>
                    <a:pt x="0" y="530828"/>
                  </a:cubicBezTo>
                  <a:cubicBezTo>
                    <a:pt x="0" y="237660"/>
                    <a:pt x="237660" y="0"/>
                    <a:pt x="530828" y="0"/>
                  </a:cubicBezTo>
                  <a:cubicBezTo>
                    <a:pt x="823997" y="0"/>
                    <a:pt x="1061657" y="237660"/>
                    <a:pt x="1061657" y="53082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0EDCD5B-0496-18B8-2BB9-A47B4D9F7DF9}"/>
                </a:ext>
              </a:extLst>
            </p:cNvPr>
            <p:cNvSpPr/>
            <p:nvPr/>
          </p:nvSpPr>
          <p:spPr>
            <a:xfrm>
              <a:off x="7988938" y="1356278"/>
              <a:ext cx="864488" cy="864488"/>
            </a:xfrm>
            <a:custGeom>
              <a:avLst/>
              <a:gdLst>
                <a:gd name="connsiteX0" fmla="*/ 864489 w 864488"/>
                <a:gd name="connsiteY0" fmla="*/ 432245 h 864488"/>
                <a:gd name="connsiteX1" fmla="*/ 432245 w 864488"/>
                <a:gd name="connsiteY1" fmla="*/ 864489 h 864488"/>
                <a:gd name="connsiteX2" fmla="*/ 0 w 864488"/>
                <a:gd name="connsiteY2" fmla="*/ 432245 h 864488"/>
                <a:gd name="connsiteX3" fmla="*/ 432245 w 864488"/>
                <a:gd name="connsiteY3" fmla="*/ 0 h 864488"/>
                <a:gd name="connsiteX4" fmla="*/ 864489 w 864488"/>
                <a:gd name="connsiteY4" fmla="*/ 432245 h 86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488" h="864488">
                  <a:moveTo>
                    <a:pt x="864489" y="432245"/>
                  </a:moveTo>
                  <a:cubicBezTo>
                    <a:pt x="864489" y="670967"/>
                    <a:pt x="670967" y="864489"/>
                    <a:pt x="432245" y="864489"/>
                  </a:cubicBezTo>
                  <a:cubicBezTo>
                    <a:pt x="193522" y="864489"/>
                    <a:pt x="0" y="670967"/>
                    <a:pt x="0" y="432245"/>
                  </a:cubicBezTo>
                  <a:cubicBezTo>
                    <a:pt x="0" y="193522"/>
                    <a:pt x="193523" y="0"/>
                    <a:pt x="432245" y="0"/>
                  </a:cubicBezTo>
                  <a:cubicBezTo>
                    <a:pt x="670967" y="0"/>
                    <a:pt x="864489" y="193523"/>
                    <a:pt x="864489" y="432245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20CEB04-4149-BBC6-80B9-2AC795534D8F}"/>
                </a:ext>
              </a:extLst>
            </p:cNvPr>
            <p:cNvSpPr/>
            <p:nvPr/>
          </p:nvSpPr>
          <p:spPr>
            <a:xfrm>
              <a:off x="8087426" y="1454766"/>
              <a:ext cx="667511" cy="667511"/>
            </a:xfrm>
            <a:custGeom>
              <a:avLst/>
              <a:gdLst>
                <a:gd name="connsiteX0" fmla="*/ 667512 w 667511"/>
                <a:gd name="connsiteY0" fmla="*/ 333756 h 667511"/>
                <a:gd name="connsiteX1" fmla="*/ 333756 w 667511"/>
                <a:gd name="connsiteY1" fmla="*/ 667512 h 667511"/>
                <a:gd name="connsiteX2" fmla="*/ 0 w 667511"/>
                <a:gd name="connsiteY2" fmla="*/ 333756 h 667511"/>
                <a:gd name="connsiteX3" fmla="*/ 333756 w 667511"/>
                <a:gd name="connsiteY3" fmla="*/ 0 h 667511"/>
                <a:gd name="connsiteX4" fmla="*/ 667512 w 667511"/>
                <a:gd name="connsiteY4" fmla="*/ 333756 h 66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511" h="667511">
                  <a:moveTo>
                    <a:pt x="667512" y="333756"/>
                  </a:moveTo>
                  <a:cubicBezTo>
                    <a:pt x="667512" y="518084"/>
                    <a:pt x="518084" y="667512"/>
                    <a:pt x="333756" y="667512"/>
                  </a:cubicBezTo>
                  <a:cubicBezTo>
                    <a:pt x="149428" y="667512"/>
                    <a:pt x="0" y="518084"/>
                    <a:pt x="0" y="333756"/>
                  </a:cubicBezTo>
                  <a:cubicBezTo>
                    <a:pt x="0" y="149428"/>
                    <a:pt x="149428" y="0"/>
                    <a:pt x="333756" y="0"/>
                  </a:cubicBezTo>
                  <a:cubicBezTo>
                    <a:pt x="518084" y="0"/>
                    <a:pt x="667512" y="149428"/>
                    <a:pt x="667512" y="333756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27AA848-04D4-4D1D-7C7C-A283272E12FB}"/>
                </a:ext>
              </a:extLst>
            </p:cNvPr>
            <p:cNvSpPr/>
            <p:nvPr/>
          </p:nvSpPr>
          <p:spPr>
            <a:xfrm>
              <a:off x="8186010" y="1553350"/>
              <a:ext cx="470344" cy="470344"/>
            </a:xfrm>
            <a:custGeom>
              <a:avLst/>
              <a:gdLst>
                <a:gd name="connsiteX0" fmla="*/ 470345 w 470344"/>
                <a:gd name="connsiteY0" fmla="*/ 235172 h 470344"/>
                <a:gd name="connsiteX1" fmla="*/ 235172 w 470344"/>
                <a:gd name="connsiteY1" fmla="*/ 470345 h 470344"/>
                <a:gd name="connsiteX2" fmla="*/ 0 w 470344"/>
                <a:gd name="connsiteY2" fmla="*/ 235172 h 470344"/>
                <a:gd name="connsiteX3" fmla="*/ 235172 w 470344"/>
                <a:gd name="connsiteY3" fmla="*/ 0 h 470344"/>
                <a:gd name="connsiteX4" fmla="*/ 470345 w 470344"/>
                <a:gd name="connsiteY4" fmla="*/ 235172 h 47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344" h="470344">
                  <a:moveTo>
                    <a:pt x="470345" y="235172"/>
                  </a:moveTo>
                  <a:cubicBezTo>
                    <a:pt x="470345" y="365054"/>
                    <a:pt x="365054" y="470345"/>
                    <a:pt x="235172" y="470345"/>
                  </a:cubicBezTo>
                  <a:cubicBezTo>
                    <a:pt x="105290" y="470345"/>
                    <a:pt x="0" y="365054"/>
                    <a:pt x="0" y="235172"/>
                  </a:cubicBezTo>
                  <a:cubicBezTo>
                    <a:pt x="0" y="105290"/>
                    <a:pt x="105290" y="0"/>
                    <a:pt x="235172" y="0"/>
                  </a:cubicBezTo>
                  <a:cubicBezTo>
                    <a:pt x="365054" y="0"/>
                    <a:pt x="470345" y="105290"/>
                    <a:pt x="470345" y="23517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371731D-788D-F4BC-0327-9EC928360EC2}"/>
                </a:ext>
              </a:extLst>
            </p:cNvPr>
            <p:cNvSpPr/>
            <p:nvPr/>
          </p:nvSpPr>
          <p:spPr>
            <a:xfrm>
              <a:off x="8284499" y="1651839"/>
              <a:ext cx="273367" cy="273367"/>
            </a:xfrm>
            <a:custGeom>
              <a:avLst/>
              <a:gdLst>
                <a:gd name="connsiteX0" fmla="*/ 273368 w 273367"/>
                <a:gd name="connsiteY0" fmla="*/ 136684 h 273367"/>
                <a:gd name="connsiteX1" fmla="*/ 136684 w 273367"/>
                <a:gd name="connsiteY1" fmla="*/ 273368 h 273367"/>
                <a:gd name="connsiteX2" fmla="*/ 0 w 273367"/>
                <a:gd name="connsiteY2" fmla="*/ 136684 h 273367"/>
                <a:gd name="connsiteX3" fmla="*/ 136684 w 273367"/>
                <a:gd name="connsiteY3" fmla="*/ 0 h 273367"/>
                <a:gd name="connsiteX4" fmla="*/ 273368 w 273367"/>
                <a:gd name="connsiteY4" fmla="*/ 136684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367" h="273367">
                  <a:moveTo>
                    <a:pt x="273368" y="136684"/>
                  </a:moveTo>
                  <a:cubicBezTo>
                    <a:pt x="273368" y="212172"/>
                    <a:pt x="212172" y="273368"/>
                    <a:pt x="136684" y="273368"/>
                  </a:cubicBezTo>
                  <a:cubicBezTo>
                    <a:pt x="61195" y="273368"/>
                    <a:pt x="0" y="212172"/>
                    <a:pt x="0" y="136684"/>
                  </a:cubicBezTo>
                  <a:cubicBezTo>
                    <a:pt x="0" y="61195"/>
                    <a:pt x="61195" y="0"/>
                    <a:pt x="136684" y="0"/>
                  </a:cubicBezTo>
                  <a:cubicBezTo>
                    <a:pt x="212172" y="0"/>
                    <a:pt x="273368" y="61195"/>
                    <a:pt x="273368" y="1366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0A75573-2879-58EA-914D-727925923C71}"/>
                </a:ext>
              </a:extLst>
            </p:cNvPr>
            <p:cNvSpPr/>
            <p:nvPr/>
          </p:nvSpPr>
          <p:spPr>
            <a:xfrm>
              <a:off x="8383082" y="1750422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EE6696F-C7CE-D771-EC5A-737B361212E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23719" y="955675"/>
            <a:ext cx="6996781" cy="49853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6AE0406C-9CE3-1A7F-CC4F-4C5EF6A92A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34" name="Date Placeholder 33">
            <a:extLst>
              <a:ext uri="{FF2B5EF4-FFF2-40B4-BE49-F238E27FC236}">
                <a16:creationId xmlns:a16="http://schemas.microsoft.com/office/drawing/2014/main" id="{D85C5DC0-1CF5-F5BA-CC98-CEC27987F15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7CCC96B9-9941-0A8A-F540-39F7D19D04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288A1D0C-25B3-7F5B-3D48-F622FB6EF0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51078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8BDE8-76D5-D5D4-4BC7-FCBE48EC7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156082"/>
                </a:solidFill>
              </a:defRPr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C663ADB-B9F2-7146-CF4A-6C7E2A41C35D}"/>
              </a:ext>
            </a:extLst>
          </p:cNvPr>
          <p:cNvGrpSpPr/>
          <p:nvPr userDrawn="1"/>
        </p:nvGrpSpPr>
        <p:grpSpPr>
          <a:xfrm rot="19800000">
            <a:off x="-2757266" y="3190989"/>
            <a:ext cx="6787261" cy="6787261"/>
            <a:chOff x="7101970" y="469310"/>
            <a:chExt cx="2638425" cy="2638425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C2441A4-6EDE-BB81-D77B-09E2BF4E9027}"/>
                </a:ext>
              </a:extLst>
            </p:cNvPr>
            <p:cNvSpPr/>
            <p:nvPr/>
          </p:nvSpPr>
          <p:spPr>
            <a:xfrm>
              <a:off x="7101970" y="469310"/>
              <a:ext cx="2638425" cy="2638425"/>
            </a:xfrm>
            <a:custGeom>
              <a:avLst/>
              <a:gdLst>
                <a:gd name="connsiteX0" fmla="*/ 2638425 w 2638425"/>
                <a:gd name="connsiteY0" fmla="*/ 1319213 h 2638425"/>
                <a:gd name="connsiteX1" fmla="*/ 1319213 w 2638425"/>
                <a:gd name="connsiteY1" fmla="*/ 2638425 h 2638425"/>
                <a:gd name="connsiteX2" fmla="*/ 0 w 2638425"/>
                <a:gd name="connsiteY2" fmla="*/ 1319213 h 2638425"/>
                <a:gd name="connsiteX3" fmla="*/ 1319213 w 2638425"/>
                <a:gd name="connsiteY3" fmla="*/ 0 h 2638425"/>
                <a:gd name="connsiteX4" fmla="*/ 2638425 w 2638425"/>
                <a:gd name="connsiteY4" fmla="*/ 1319213 h 26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5" h="2638425">
                  <a:moveTo>
                    <a:pt x="2638425" y="1319213"/>
                  </a:moveTo>
                  <a:cubicBezTo>
                    <a:pt x="2638425" y="2047794"/>
                    <a:pt x="2047794" y="2638425"/>
                    <a:pt x="1319213" y="2638425"/>
                  </a:cubicBezTo>
                  <a:cubicBezTo>
                    <a:pt x="590632" y="2638425"/>
                    <a:pt x="0" y="2047794"/>
                    <a:pt x="0" y="1319213"/>
                  </a:cubicBezTo>
                  <a:cubicBezTo>
                    <a:pt x="0" y="590632"/>
                    <a:pt x="590632" y="0"/>
                    <a:pt x="1319213" y="0"/>
                  </a:cubicBezTo>
                  <a:cubicBezTo>
                    <a:pt x="2047794" y="0"/>
                    <a:pt x="2638425" y="590632"/>
                    <a:pt x="2638425" y="1319213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BD1100E-E711-59B3-5533-6F81525E12FE}"/>
                </a:ext>
              </a:extLst>
            </p:cNvPr>
            <p:cNvSpPr/>
            <p:nvPr/>
          </p:nvSpPr>
          <p:spPr>
            <a:xfrm>
              <a:off x="7200554" y="567894"/>
              <a:ext cx="2441257" cy="2441257"/>
            </a:xfrm>
            <a:custGeom>
              <a:avLst/>
              <a:gdLst>
                <a:gd name="connsiteX0" fmla="*/ 2441258 w 2441257"/>
                <a:gd name="connsiteY0" fmla="*/ 1220629 h 2441257"/>
                <a:gd name="connsiteX1" fmla="*/ 1220629 w 2441257"/>
                <a:gd name="connsiteY1" fmla="*/ 2441258 h 2441257"/>
                <a:gd name="connsiteX2" fmla="*/ 0 w 2441257"/>
                <a:gd name="connsiteY2" fmla="*/ 1220629 h 2441257"/>
                <a:gd name="connsiteX3" fmla="*/ 1220629 w 2441257"/>
                <a:gd name="connsiteY3" fmla="*/ 0 h 2441257"/>
                <a:gd name="connsiteX4" fmla="*/ 2441258 w 2441257"/>
                <a:gd name="connsiteY4" fmla="*/ 1220629 h 244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257" h="2441257">
                  <a:moveTo>
                    <a:pt x="2441258" y="1220629"/>
                  </a:moveTo>
                  <a:cubicBezTo>
                    <a:pt x="2441258" y="1894763"/>
                    <a:pt x="1894763" y="2441258"/>
                    <a:pt x="1220629" y="2441258"/>
                  </a:cubicBezTo>
                  <a:cubicBezTo>
                    <a:pt x="546494" y="2441258"/>
                    <a:pt x="0" y="1894763"/>
                    <a:pt x="0" y="1220629"/>
                  </a:cubicBezTo>
                  <a:cubicBezTo>
                    <a:pt x="0" y="546494"/>
                    <a:pt x="546494" y="0"/>
                    <a:pt x="1220629" y="0"/>
                  </a:cubicBezTo>
                  <a:cubicBezTo>
                    <a:pt x="1894763" y="0"/>
                    <a:pt x="2441258" y="546494"/>
                    <a:pt x="2441258" y="1220629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8D330F-F107-25D7-28C3-1EC56FF67C83}"/>
                </a:ext>
              </a:extLst>
            </p:cNvPr>
            <p:cNvSpPr/>
            <p:nvPr/>
          </p:nvSpPr>
          <p:spPr>
            <a:xfrm>
              <a:off x="7299042" y="666382"/>
              <a:ext cx="2244280" cy="2244280"/>
            </a:xfrm>
            <a:custGeom>
              <a:avLst/>
              <a:gdLst>
                <a:gd name="connsiteX0" fmla="*/ 2244281 w 2244280"/>
                <a:gd name="connsiteY0" fmla="*/ 1122140 h 2244280"/>
                <a:gd name="connsiteX1" fmla="*/ 1122140 w 2244280"/>
                <a:gd name="connsiteY1" fmla="*/ 2244281 h 2244280"/>
                <a:gd name="connsiteX2" fmla="*/ 0 w 2244280"/>
                <a:gd name="connsiteY2" fmla="*/ 1122140 h 2244280"/>
                <a:gd name="connsiteX3" fmla="*/ 1122140 w 2244280"/>
                <a:gd name="connsiteY3" fmla="*/ 0 h 2244280"/>
                <a:gd name="connsiteX4" fmla="*/ 2244281 w 2244280"/>
                <a:gd name="connsiteY4" fmla="*/ 1122140 h 224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4280" h="2244280">
                  <a:moveTo>
                    <a:pt x="2244281" y="1122140"/>
                  </a:moveTo>
                  <a:cubicBezTo>
                    <a:pt x="2244281" y="1741881"/>
                    <a:pt x="1741881" y="2244281"/>
                    <a:pt x="1122140" y="2244281"/>
                  </a:cubicBezTo>
                  <a:cubicBezTo>
                    <a:pt x="502399" y="2244281"/>
                    <a:pt x="0" y="1741881"/>
                    <a:pt x="0" y="1122140"/>
                  </a:cubicBezTo>
                  <a:cubicBezTo>
                    <a:pt x="0" y="502399"/>
                    <a:pt x="502399" y="0"/>
                    <a:pt x="1122140" y="0"/>
                  </a:cubicBezTo>
                  <a:cubicBezTo>
                    <a:pt x="1741881" y="0"/>
                    <a:pt x="2244281" y="502399"/>
                    <a:pt x="2244281" y="112214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15C968A-684C-A73E-23F2-F39B6D88EA6E}"/>
                </a:ext>
              </a:extLst>
            </p:cNvPr>
            <p:cNvSpPr/>
            <p:nvPr/>
          </p:nvSpPr>
          <p:spPr>
            <a:xfrm>
              <a:off x="7397626" y="764966"/>
              <a:ext cx="2047112" cy="2047112"/>
            </a:xfrm>
            <a:custGeom>
              <a:avLst/>
              <a:gdLst>
                <a:gd name="connsiteX0" fmla="*/ 2047113 w 2047112"/>
                <a:gd name="connsiteY0" fmla="*/ 1023557 h 2047112"/>
                <a:gd name="connsiteX1" fmla="*/ 1023557 w 2047112"/>
                <a:gd name="connsiteY1" fmla="*/ 2047113 h 2047112"/>
                <a:gd name="connsiteX2" fmla="*/ 0 w 2047112"/>
                <a:gd name="connsiteY2" fmla="*/ 1023557 h 2047112"/>
                <a:gd name="connsiteX3" fmla="*/ 1023557 w 2047112"/>
                <a:gd name="connsiteY3" fmla="*/ 0 h 2047112"/>
                <a:gd name="connsiteX4" fmla="*/ 2047113 w 2047112"/>
                <a:gd name="connsiteY4" fmla="*/ 1023557 h 20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7112" h="2047112">
                  <a:moveTo>
                    <a:pt x="2047113" y="1023557"/>
                  </a:moveTo>
                  <a:cubicBezTo>
                    <a:pt x="2047113" y="1588851"/>
                    <a:pt x="1588851" y="2047113"/>
                    <a:pt x="1023557" y="2047113"/>
                  </a:cubicBezTo>
                  <a:cubicBezTo>
                    <a:pt x="458262" y="2047113"/>
                    <a:pt x="0" y="1588851"/>
                    <a:pt x="0" y="1023557"/>
                  </a:cubicBezTo>
                  <a:cubicBezTo>
                    <a:pt x="0" y="458262"/>
                    <a:pt x="458262" y="0"/>
                    <a:pt x="1023557" y="0"/>
                  </a:cubicBezTo>
                  <a:cubicBezTo>
                    <a:pt x="1588851" y="0"/>
                    <a:pt x="2047113" y="458262"/>
                    <a:pt x="2047113" y="1023557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DAFBD7D-F160-6FDD-1EE7-B9491B4EDC22}"/>
                </a:ext>
              </a:extLst>
            </p:cNvPr>
            <p:cNvSpPr/>
            <p:nvPr/>
          </p:nvSpPr>
          <p:spPr>
            <a:xfrm>
              <a:off x="7496114" y="863454"/>
              <a:ext cx="1850136" cy="1850136"/>
            </a:xfrm>
            <a:custGeom>
              <a:avLst/>
              <a:gdLst>
                <a:gd name="connsiteX0" fmla="*/ 1850136 w 1850136"/>
                <a:gd name="connsiteY0" fmla="*/ 925068 h 1850136"/>
                <a:gd name="connsiteX1" fmla="*/ 925068 w 1850136"/>
                <a:gd name="connsiteY1" fmla="*/ 1850136 h 1850136"/>
                <a:gd name="connsiteX2" fmla="*/ 0 w 1850136"/>
                <a:gd name="connsiteY2" fmla="*/ 925068 h 1850136"/>
                <a:gd name="connsiteX3" fmla="*/ 925068 w 1850136"/>
                <a:gd name="connsiteY3" fmla="*/ 0 h 1850136"/>
                <a:gd name="connsiteX4" fmla="*/ 1850136 w 1850136"/>
                <a:gd name="connsiteY4" fmla="*/ 925068 h 185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136" h="1850136">
                  <a:moveTo>
                    <a:pt x="1850136" y="925068"/>
                  </a:moveTo>
                  <a:cubicBezTo>
                    <a:pt x="1850136" y="1435969"/>
                    <a:pt x="1435969" y="1850136"/>
                    <a:pt x="925068" y="1850136"/>
                  </a:cubicBezTo>
                  <a:cubicBezTo>
                    <a:pt x="414167" y="1850136"/>
                    <a:pt x="0" y="1435969"/>
                    <a:pt x="0" y="925068"/>
                  </a:cubicBezTo>
                  <a:cubicBezTo>
                    <a:pt x="0" y="414167"/>
                    <a:pt x="414167" y="0"/>
                    <a:pt x="925068" y="0"/>
                  </a:cubicBezTo>
                  <a:cubicBezTo>
                    <a:pt x="1435969" y="0"/>
                    <a:pt x="1850136" y="414167"/>
                    <a:pt x="1850136" y="92506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EA2AAF6-EE6D-093C-A38F-3191AD2A7F41}"/>
                </a:ext>
              </a:extLst>
            </p:cNvPr>
            <p:cNvSpPr/>
            <p:nvPr/>
          </p:nvSpPr>
          <p:spPr>
            <a:xfrm>
              <a:off x="7594698" y="962038"/>
              <a:ext cx="1652968" cy="1652968"/>
            </a:xfrm>
            <a:custGeom>
              <a:avLst/>
              <a:gdLst>
                <a:gd name="connsiteX0" fmla="*/ 1652969 w 1652968"/>
                <a:gd name="connsiteY0" fmla="*/ 826484 h 1652968"/>
                <a:gd name="connsiteX1" fmla="*/ 826484 w 1652968"/>
                <a:gd name="connsiteY1" fmla="*/ 1652969 h 1652968"/>
                <a:gd name="connsiteX2" fmla="*/ 0 w 1652968"/>
                <a:gd name="connsiteY2" fmla="*/ 826484 h 1652968"/>
                <a:gd name="connsiteX3" fmla="*/ 826484 w 1652968"/>
                <a:gd name="connsiteY3" fmla="*/ 0 h 1652968"/>
                <a:gd name="connsiteX4" fmla="*/ 1652969 w 1652968"/>
                <a:gd name="connsiteY4" fmla="*/ 826484 h 165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968" h="1652968">
                  <a:moveTo>
                    <a:pt x="1652969" y="826484"/>
                  </a:moveTo>
                  <a:cubicBezTo>
                    <a:pt x="1652969" y="1282939"/>
                    <a:pt x="1282939" y="1652969"/>
                    <a:pt x="826484" y="1652969"/>
                  </a:cubicBezTo>
                  <a:cubicBezTo>
                    <a:pt x="370030" y="1652969"/>
                    <a:pt x="0" y="1282939"/>
                    <a:pt x="0" y="826484"/>
                  </a:cubicBezTo>
                  <a:cubicBezTo>
                    <a:pt x="0" y="370030"/>
                    <a:pt x="370030" y="0"/>
                    <a:pt x="826484" y="0"/>
                  </a:cubicBezTo>
                  <a:cubicBezTo>
                    <a:pt x="1282939" y="0"/>
                    <a:pt x="1652969" y="370030"/>
                    <a:pt x="1652969" y="8264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CDAA2A-1D3D-6251-C70D-7FB00FB3DC6F}"/>
                </a:ext>
              </a:extLst>
            </p:cNvPr>
            <p:cNvSpPr/>
            <p:nvPr/>
          </p:nvSpPr>
          <p:spPr>
            <a:xfrm>
              <a:off x="7693282" y="1060622"/>
              <a:ext cx="1455801" cy="1455801"/>
            </a:xfrm>
            <a:custGeom>
              <a:avLst/>
              <a:gdLst>
                <a:gd name="connsiteX0" fmla="*/ 1455801 w 1455801"/>
                <a:gd name="connsiteY0" fmla="*/ 727901 h 1455801"/>
                <a:gd name="connsiteX1" fmla="*/ 727901 w 1455801"/>
                <a:gd name="connsiteY1" fmla="*/ 1455801 h 1455801"/>
                <a:gd name="connsiteX2" fmla="*/ 0 w 1455801"/>
                <a:gd name="connsiteY2" fmla="*/ 727901 h 1455801"/>
                <a:gd name="connsiteX3" fmla="*/ 727901 w 1455801"/>
                <a:gd name="connsiteY3" fmla="*/ 0 h 1455801"/>
                <a:gd name="connsiteX4" fmla="*/ 1455801 w 1455801"/>
                <a:gd name="connsiteY4" fmla="*/ 727901 h 145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801" h="1455801">
                  <a:moveTo>
                    <a:pt x="1455801" y="727901"/>
                  </a:moveTo>
                  <a:cubicBezTo>
                    <a:pt x="1455801" y="1129909"/>
                    <a:pt x="1129909" y="1455801"/>
                    <a:pt x="727901" y="1455801"/>
                  </a:cubicBezTo>
                  <a:cubicBezTo>
                    <a:pt x="325892" y="1455801"/>
                    <a:pt x="0" y="1129909"/>
                    <a:pt x="0" y="727901"/>
                  </a:cubicBezTo>
                  <a:cubicBezTo>
                    <a:pt x="0" y="325892"/>
                    <a:pt x="325892" y="0"/>
                    <a:pt x="727901" y="0"/>
                  </a:cubicBezTo>
                  <a:cubicBezTo>
                    <a:pt x="1129909" y="0"/>
                    <a:pt x="1455801" y="325892"/>
                    <a:pt x="1455801" y="727901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6FE1B25-845B-D772-0EDB-C28D1ECB6EE4}"/>
                </a:ext>
              </a:extLst>
            </p:cNvPr>
            <p:cNvSpPr/>
            <p:nvPr/>
          </p:nvSpPr>
          <p:spPr>
            <a:xfrm>
              <a:off x="7791770" y="1159110"/>
              <a:ext cx="1258823" cy="1258823"/>
            </a:xfrm>
            <a:custGeom>
              <a:avLst/>
              <a:gdLst>
                <a:gd name="connsiteX0" fmla="*/ 1258824 w 1258823"/>
                <a:gd name="connsiteY0" fmla="*/ 629412 h 1258823"/>
                <a:gd name="connsiteX1" fmla="*/ 629412 w 1258823"/>
                <a:gd name="connsiteY1" fmla="*/ 1258824 h 1258823"/>
                <a:gd name="connsiteX2" fmla="*/ 0 w 1258823"/>
                <a:gd name="connsiteY2" fmla="*/ 629412 h 1258823"/>
                <a:gd name="connsiteX3" fmla="*/ 629412 w 1258823"/>
                <a:gd name="connsiteY3" fmla="*/ 0 h 1258823"/>
                <a:gd name="connsiteX4" fmla="*/ 1258824 w 1258823"/>
                <a:gd name="connsiteY4" fmla="*/ 629412 h 125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823" h="1258823">
                  <a:moveTo>
                    <a:pt x="1258824" y="629412"/>
                  </a:moveTo>
                  <a:cubicBezTo>
                    <a:pt x="1258824" y="977027"/>
                    <a:pt x="977027" y="1258824"/>
                    <a:pt x="629412" y="1258824"/>
                  </a:cubicBezTo>
                  <a:cubicBezTo>
                    <a:pt x="281797" y="1258824"/>
                    <a:pt x="0" y="977027"/>
                    <a:pt x="0" y="629412"/>
                  </a:cubicBezTo>
                  <a:cubicBezTo>
                    <a:pt x="0" y="281797"/>
                    <a:pt x="281797" y="0"/>
                    <a:pt x="629412" y="0"/>
                  </a:cubicBezTo>
                  <a:cubicBezTo>
                    <a:pt x="977027" y="0"/>
                    <a:pt x="1258824" y="281797"/>
                    <a:pt x="1258824" y="62941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EC6EE67-884D-20D2-922B-663CA473373D}"/>
                </a:ext>
              </a:extLst>
            </p:cNvPr>
            <p:cNvSpPr/>
            <p:nvPr/>
          </p:nvSpPr>
          <p:spPr>
            <a:xfrm>
              <a:off x="7890354" y="1257694"/>
              <a:ext cx="1061656" cy="1061656"/>
            </a:xfrm>
            <a:custGeom>
              <a:avLst/>
              <a:gdLst>
                <a:gd name="connsiteX0" fmla="*/ 1061657 w 1061656"/>
                <a:gd name="connsiteY0" fmla="*/ 530828 h 1061656"/>
                <a:gd name="connsiteX1" fmla="*/ 530828 w 1061656"/>
                <a:gd name="connsiteY1" fmla="*/ 1061657 h 1061656"/>
                <a:gd name="connsiteX2" fmla="*/ 0 w 1061656"/>
                <a:gd name="connsiteY2" fmla="*/ 530828 h 1061656"/>
                <a:gd name="connsiteX3" fmla="*/ 530828 w 1061656"/>
                <a:gd name="connsiteY3" fmla="*/ 0 h 1061656"/>
                <a:gd name="connsiteX4" fmla="*/ 1061657 w 1061656"/>
                <a:gd name="connsiteY4" fmla="*/ 530828 h 106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656" h="1061656">
                  <a:moveTo>
                    <a:pt x="1061657" y="530828"/>
                  </a:moveTo>
                  <a:cubicBezTo>
                    <a:pt x="1061657" y="823997"/>
                    <a:pt x="823997" y="1061657"/>
                    <a:pt x="530828" y="1061657"/>
                  </a:cubicBezTo>
                  <a:cubicBezTo>
                    <a:pt x="237660" y="1061657"/>
                    <a:pt x="0" y="823997"/>
                    <a:pt x="0" y="530828"/>
                  </a:cubicBezTo>
                  <a:cubicBezTo>
                    <a:pt x="0" y="237660"/>
                    <a:pt x="237660" y="0"/>
                    <a:pt x="530828" y="0"/>
                  </a:cubicBezTo>
                  <a:cubicBezTo>
                    <a:pt x="823997" y="0"/>
                    <a:pt x="1061657" y="237660"/>
                    <a:pt x="1061657" y="53082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12935AE-B0C9-DE05-E64A-0365FC53347A}"/>
                </a:ext>
              </a:extLst>
            </p:cNvPr>
            <p:cNvSpPr/>
            <p:nvPr/>
          </p:nvSpPr>
          <p:spPr>
            <a:xfrm>
              <a:off x="7988938" y="1356278"/>
              <a:ext cx="864488" cy="864488"/>
            </a:xfrm>
            <a:custGeom>
              <a:avLst/>
              <a:gdLst>
                <a:gd name="connsiteX0" fmla="*/ 864489 w 864488"/>
                <a:gd name="connsiteY0" fmla="*/ 432245 h 864488"/>
                <a:gd name="connsiteX1" fmla="*/ 432245 w 864488"/>
                <a:gd name="connsiteY1" fmla="*/ 864489 h 864488"/>
                <a:gd name="connsiteX2" fmla="*/ 0 w 864488"/>
                <a:gd name="connsiteY2" fmla="*/ 432245 h 864488"/>
                <a:gd name="connsiteX3" fmla="*/ 432245 w 864488"/>
                <a:gd name="connsiteY3" fmla="*/ 0 h 864488"/>
                <a:gd name="connsiteX4" fmla="*/ 864489 w 864488"/>
                <a:gd name="connsiteY4" fmla="*/ 432245 h 86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488" h="864488">
                  <a:moveTo>
                    <a:pt x="864489" y="432245"/>
                  </a:moveTo>
                  <a:cubicBezTo>
                    <a:pt x="864489" y="670967"/>
                    <a:pt x="670967" y="864489"/>
                    <a:pt x="432245" y="864489"/>
                  </a:cubicBezTo>
                  <a:cubicBezTo>
                    <a:pt x="193522" y="864489"/>
                    <a:pt x="0" y="670967"/>
                    <a:pt x="0" y="432245"/>
                  </a:cubicBezTo>
                  <a:cubicBezTo>
                    <a:pt x="0" y="193522"/>
                    <a:pt x="193523" y="0"/>
                    <a:pt x="432245" y="0"/>
                  </a:cubicBezTo>
                  <a:cubicBezTo>
                    <a:pt x="670967" y="0"/>
                    <a:pt x="864489" y="193523"/>
                    <a:pt x="864489" y="432245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553A0A9-B368-BE2A-9CB8-1E6E7B004633}"/>
                </a:ext>
              </a:extLst>
            </p:cNvPr>
            <p:cNvSpPr/>
            <p:nvPr/>
          </p:nvSpPr>
          <p:spPr>
            <a:xfrm>
              <a:off x="8087426" y="1454766"/>
              <a:ext cx="667511" cy="667511"/>
            </a:xfrm>
            <a:custGeom>
              <a:avLst/>
              <a:gdLst>
                <a:gd name="connsiteX0" fmla="*/ 667512 w 667511"/>
                <a:gd name="connsiteY0" fmla="*/ 333756 h 667511"/>
                <a:gd name="connsiteX1" fmla="*/ 333756 w 667511"/>
                <a:gd name="connsiteY1" fmla="*/ 667512 h 667511"/>
                <a:gd name="connsiteX2" fmla="*/ 0 w 667511"/>
                <a:gd name="connsiteY2" fmla="*/ 333756 h 667511"/>
                <a:gd name="connsiteX3" fmla="*/ 333756 w 667511"/>
                <a:gd name="connsiteY3" fmla="*/ 0 h 667511"/>
                <a:gd name="connsiteX4" fmla="*/ 667512 w 667511"/>
                <a:gd name="connsiteY4" fmla="*/ 333756 h 66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511" h="667511">
                  <a:moveTo>
                    <a:pt x="667512" y="333756"/>
                  </a:moveTo>
                  <a:cubicBezTo>
                    <a:pt x="667512" y="518084"/>
                    <a:pt x="518084" y="667512"/>
                    <a:pt x="333756" y="667512"/>
                  </a:cubicBezTo>
                  <a:cubicBezTo>
                    <a:pt x="149428" y="667512"/>
                    <a:pt x="0" y="518084"/>
                    <a:pt x="0" y="333756"/>
                  </a:cubicBezTo>
                  <a:cubicBezTo>
                    <a:pt x="0" y="149428"/>
                    <a:pt x="149428" y="0"/>
                    <a:pt x="333756" y="0"/>
                  </a:cubicBezTo>
                  <a:cubicBezTo>
                    <a:pt x="518084" y="0"/>
                    <a:pt x="667512" y="149428"/>
                    <a:pt x="667512" y="333756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365F26B-819C-8620-E2C3-B0FD5E997655}"/>
                </a:ext>
              </a:extLst>
            </p:cNvPr>
            <p:cNvSpPr/>
            <p:nvPr/>
          </p:nvSpPr>
          <p:spPr>
            <a:xfrm>
              <a:off x="8186010" y="1553350"/>
              <a:ext cx="470344" cy="470344"/>
            </a:xfrm>
            <a:custGeom>
              <a:avLst/>
              <a:gdLst>
                <a:gd name="connsiteX0" fmla="*/ 470345 w 470344"/>
                <a:gd name="connsiteY0" fmla="*/ 235172 h 470344"/>
                <a:gd name="connsiteX1" fmla="*/ 235172 w 470344"/>
                <a:gd name="connsiteY1" fmla="*/ 470345 h 470344"/>
                <a:gd name="connsiteX2" fmla="*/ 0 w 470344"/>
                <a:gd name="connsiteY2" fmla="*/ 235172 h 470344"/>
                <a:gd name="connsiteX3" fmla="*/ 235172 w 470344"/>
                <a:gd name="connsiteY3" fmla="*/ 0 h 470344"/>
                <a:gd name="connsiteX4" fmla="*/ 470345 w 470344"/>
                <a:gd name="connsiteY4" fmla="*/ 235172 h 47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344" h="470344">
                  <a:moveTo>
                    <a:pt x="470345" y="235172"/>
                  </a:moveTo>
                  <a:cubicBezTo>
                    <a:pt x="470345" y="365054"/>
                    <a:pt x="365054" y="470345"/>
                    <a:pt x="235172" y="470345"/>
                  </a:cubicBezTo>
                  <a:cubicBezTo>
                    <a:pt x="105290" y="470345"/>
                    <a:pt x="0" y="365054"/>
                    <a:pt x="0" y="235172"/>
                  </a:cubicBezTo>
                  <a:cubicBezTo>
                    <a:pt x="0" y="105290"/>
                    <a:pt x="105290" y="0"/>
                    <a:pt x="235172" y="0"/>
                  </a:cubicBezTo>
                  <a:cubicBezTo>
                    <a:pt x="365054" y="0"/>
                    <a:pt x="470345" y="105290"/>
                    <a:pt x="470345" y="23517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CE7BB23-7859-D506-69A4-647B3D9FD8B2}"/>
                </a:ext>
              </a:extLst>
            </p:cNvPr>
            <p:cNvSpPr/>
            <p:nvPr/>
          </p:nvSpPr>
          <p:spPr>
            <a:xfrm>
              <a:off x="8284499" y="1651839"/>
              <a:ext cx="273367" cy="273367"/>
            </a:xfrm>
            <a:custGeom>
              <a:avLst/>
              <a:gdLst>
                <a:gd name="connsiteX0" fmla="*/ 273368 w 273367"/>
                <a:gd name="connsiteY0" fmla="*/ 136684 h 273367"/>
                <a:gd name="connsiteX1" fmla="*/ 136684 w 273367"/>
                <a:gd name="connsiteY1" fmla="*/ 273368 h 273367"/>
                <a:gd name="connsiteX2" fmla="*/ 0 w 273367"/>
                <a:gd name="connsiteY2" fmla="*/ 136684 h 273367"/>
                <a:gd name="connsiteX3" fmla="*/ 136684 w 273367"/>
                <a:gd name="connsiteY3" fmla="*/ 0 h 273367"/>
                <a:gd name="connsiteX4" fmla="*/ 273368 w 273367"/>
                <a:gd name="connsiteY4" fmla="*/ 136684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367" h="273367">
                  <a:moveTo>
                    <a:pt x="273368" y="136684"/>
                  </a:moveTo>
                  <a:cubicBezTo>
                    <a:pt x="273368" y="212172"/>
                    <a:pt x="212172" y="273368"/>
                    <a:pt x="136684" y="273368"/>
                  </a:cubicBezTo>
                  <a:cubicBezTo>
                    <a:pt x="61195" y="273368"/>
                    <a:pt x="0" y="212172"/>
                    <a:pt x="0" y="136684"/>
                  </a:cubicBezTo>
                  <a:cubicBezTo>
                    <a:pt x="0" y="61195"/>
                    <a:pt x="61195" y="0"/>
                    <a:pt x="136684" y="0"/>
                  </a:cubicBezTo>
                  <a:cubicBezTo>
                    <a:pt x="212172" y="0"/>
                    <a:pt x="273368" y="61195"/>
                    <a:pt x="273368" y="1366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B6E451-0734-8C52-C174-418B76EBA7A7}"/>
                </a:ext>
              </a:extLst>
            </p:cNvPr>
            <p:cNvSpPr/>
            <p:nvPr/>
          </p:nvSpPr>
          <p:spPr>
            <a:xfrm>
              <a:off x="8383082" y="1750422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/>
                  </a:gs>
                  <a:gs pos="100000">
                    <a:srgbClr val="CAE6E9"/>
                  </a:gs>
                </a:gsLst>
                <a:lin ang="4200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21" name="Graphic 10">
            <a:extLst>
              <a:ext uri="{FF2B5EF4-FFF2-40B4-BE49-F238E27FC236}">
                <a16:creationId xmlns:a16="http://schemas.microsoft.com/office/drawing/2014/main" id="{3EF83DFB-9939-A69A-1362-A66F3913A2AE}"/>
              </a:ext>
            </a:extLst>
          </p:cNvPr>
          <p:cNvGrpSpPr/>
          <p:nvPr userDrawn="1"/>
        </p:nvGrpSpPr>
        <p:grpSpPr>
          <a:xfrm rot="1895536">
            <a:off x="8910146" y="-906205"/>
            <a:ext cx="4239128" cy="2119564"/>
            <a:chOff x="6919912" y="3216683"/>
            <a:chExt cx="2628900" cy="1314450"/>
          </a:xfrm>
          <a:noFill/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F2A64A-5528-F394-33D7-7DF554400692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E553A18-0A17-09EE-C3DB-BDEFD2168F2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57A1080-9F6B-D058-5CA0-985C070A5EAA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893E083-79F0-E8D5-D902-E831CA44DEA1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39D9EA-DDA3-17D6-6B7B-5263428B33F8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7B85801-140B-F6D3-4B87-EB50C10C3BC2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E671100-E95B-B7E5-8756-3F5A5689BCDA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71C4089-3A6C-10F4-284B-7152041B4C39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DBC7844-0274-ECB7-50D1-D2CEE8951475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8E4010-B7CD-D09F-F527-73355FE57684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DD8DE2E-B327-90A7-C513-6A88C2F0070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6D4E448-7228-FDAC-52C6-E0CCADA244EB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A6D1FA4-DF10-9FB4-DAA3-A36E46F84C82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264ED50-2FF9-9A00-855F-A8778FC54B4A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1" name="Text Placeholder 31">
            <a:extLst>
              <a:ext uri="{FF2B5EF4-FFF2-40B4-BE49-F238E27FC236}">
                <a16:creationId xmlns:a16="http://schemas.microsoft.com/office/drawing/2014/main" id="{AB30D58C-1513-91E6-39F0-E69CB8C31D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5180BF96-6B84-BE94-43B0-115147780CE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4116247C-363D-D792-19F8-D828C60A357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00451972-CBE1-4CEB-7960-84F338EC36D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36304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8BDE8-76D5-D5D4-4BC7-FCBE48EC7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>
                <a:solidFill>
                  <a:srgbClr val="156082"/>
                </a:solidFill>
              </a:defRPr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TAB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BEF5D70-3994-22BB-D252-D72E5EDB03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85800" y="1585439"/>
            <a:ext cx="10934700" cy="4281961"/>
          </a:xfrm>
        </p:spPr>
        <p:txBody>
          <a:bodyPr/>
          <a:lstStyle/>
          <a:p>
            <a:endParaRPr lang="en-US"/>
          </a:p>
        </p:txBody>
      </p:sp>
      <p:grpSp>
        <p:nvGrpSpPr>
          <p:cNvPr id="43" name="Graphic 10">
            <a:extLst>
              <a:ext uri="{FF2B5EF4-FFF2-40B4-BE49-F238E27FC236}">
                <a16:creationId xmlns:a16="http://schemas.microsoft.com/office/drawing/2014/main" id="{15EA1135-EC83-0530-67CD-854A4D4DE7E3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665CDE8-5AEB-AD3E-24E5-4316F47E726E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8E1FAA3-5599-69F2-F39F-3DA720E374D1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A09C960-3FDF-787A-DDBD-ABC1B76A6609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C90B8CD-4926-3FB9-9251-9AD6EEEDA92D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4BE51CE-2342-8D5A-F77C-272D4C030F6B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D2C70AA-DD32-1337-C7C9-ABAAD5CD1113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5C57355-A2E4-C967-6006-E93414A92F10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97B2F11-B74A-6272-44DF-8135C34250FF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DDA996B-6759-A23B-25CE-E4B57AB934D8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C818586-EDB9-7D21-5D06-8B81F1050FE8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14C6B2A-D276-AA27-14AC-3FD202738E9D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C4172B7-9260-1110-B6FF-0E9D498E1070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44A9D64-8767-3050-D7E9-DFC4471C237A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BB3BB7C-3138-2CFB-71E4-BBD7C124640F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solidFill>
                <a:srgbClr val="D8A822">
                  <a:alpha val="2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58" name="Text Placeholder 31">
            <a:extLst>
              <a:ext uri="{FF2B5EF4-FFF2-40B4-BE49-F238E27FC236}">
                <a16:creationId xmlns:a16="http://schemas.microsoft.com/office/drawing/2014/main" id="{8393F9F3-0C4E-8266-68CE-33CCEFE81D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9" name="Date Placeholder 58">
            <a:extLst>
              <a:ext uri="{FF2B5EF4-FFF2-40B4-BE49-F238E27FC236}">
                <a16:creationId xmlns:a16="http://schemas.microsoft.com/office/drawing/2014/main" id="{C5C0AC1C-E4C1-0FDA-FD82-58CAD66572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60" name="Footer Placeholder 59">
            <a:extLst>
              <a:ext uri="{FF2B5EF4-FFF2-40B4-BE49-F238E27FC236}">
                <a16:creationId xmlns:a16="http://schemas.microsoft.com/office/drawing/2014/main" id="{A9ECFCA9-7A5C-0C85-DA65-34A0E2B2C8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61" name="Slide Number Placeholder 60">
            <a:extLst>
              <a:ext uri="{FF2B5EF4-FFF2-40B4-BE49-F238E27FC236}">
                <a16:creationId xmlns:a16="http://schemas.microsoft.com/office/drawing/2014/main" id="{3694B54C-1ED7-CAC2-64B9-AB4B9D74A8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18450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aption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5CA0B7F-708D-DC92-E0E3-6D3129FCB412}"/>
              </a:ext>
            </a:extLst>
          </p:cNvPr>
          <p:cNvSpPr/>
          <p:nvPr userDrawn="1"/>
        </p:nvSpPr>
        <p:spPr>
          <a:xfrm>
            <a:off x="0" y="0"/>
            <a:ext cx="4769328" cy="5635587"/>
          </a:xfrm>
          <a:custGeom>
            <a:avLst/>
            <a:gdLst>
              <a:gd name="connsiteX0" fmla="*/ 0 w 4769328"/>
              <a:gd name="connsiteY0" fmla="*/ 0 h 5635587"/>
              <a:gd name="connsiteX1" fmla="*/ 4560453 w 4769328"/>
              <a:gd name="connsiteY1" fmla="*/ 0 h 5635587"/>
              <a:gd name="connsiteX2" fmla="*/ 4569285 w 4769328"/>
              <a:gd name="connsiteY2" fmla="*/ 25366 h 5635587"/>
              <a:gd name="connsiteX3" fmla="*/ 4769328 w 4769328"/>
              <a:gd name="connsiteY3" fmla="*/ 1311282 h 5635587"/>
              <a:gd name="connsiteX4" fmla="*/ 319769 w 4769328"/>
              <a:gd name="connsiteY4" fmla="*/ 5635587 h 5635587"/>
              <a:gd name="connsiteX5" fmla="*/ 90795 w 4769328"/>
              <a:gd name="connsiteY5" fmla="*/ 5629960 h 5635587"/>
              <a:gd name="connsiteX6" fmla="*/ 0 w 4769328"/>
              <a:gd name="connsiteY6" fmla="*/ 5623251 h 5635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69328" h="5635587">
                <a:moveTo>
                  <a:pt x="0" y="0"/>
                </a:moveTo>
                <a:lnTo>
                  <a:pt x="4560453" y="0"/>
                </a:lnTo>
                <a:lnTo>
                  <a:pt x="4569285" y="25366"/>
                </a:lnTo>
                <a:cubicBezTo>
                  <a:pt x="4699292" y="431586"/>
                  <a:pt x="4769328" y="863486"/>
                  <a:pt x="4769328" y="1311282"/>
                </a:cubicBezTo>
                <a:cubicBezTo>
                  <a:pt x="4769328" y="3699530"/>
                  <a:pt x="2777193" y="5635587"/>
                  <a:pt x="319769" y="5635587"/>
                </a:cubicBezTo>
                <a:cubicBezTo>
                  <a:pt x="242974" y="5635587"/>
                  <a:pt x="166634" y="5633697"/>
                  <a:pt x="90795" y="5629960"/>
                </a:cubicBezTo>
                <a:lnTo>
                  <a:pt x="0" y="5623251"/>
                </a:lnTo>
                <a:close/>
              </a:path>
            </a:pathLst>
          </a:custGeom>
          <a:solidFill>
            <a:srgbClr val="1FA2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7" name="Graphic 10">
            <a:extLst>
              <a:ext uri="{FF2B5EF4-FFF2-40B4-BE49-F238E27FC236}">
                <a16:creationId xmlns:a16="http://schemas.microsoft.com/office/drawing/2014/main" id="{ACC3D074-97E1-9F4B-F303-EE62894C8F15}"/>
              </a:ext>
            </a:extLst>
          </p:cNvPr>
          <p:cNvGrpSpPr/>
          <p:nvPr userDrawn="1"/>
        </p:nvGrpSpPr>
        <p:grpSpPr>
          <a:xfrm rot="16200000">
            <a:off x="-1936359" y="4305853"/>
            <a:ext cx="7704524" cy="3852262"/>
            <a:chOff x="6919912" y="3216683"/>
            <a:chExt cx="2628900" cy="1314450"/>
          </a:xfrm>
          <a:noFill/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8166D08-C97B-1B56-C7A7-20FFCD9A6E1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02B54D4-CB16-9353-D269-C7B1E8250084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7957999-AB1B-4827-0CF9-FEFA4E71459F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8275D53-6E54-C69F-3205-53BE5F0666DD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6B543E-23BC-D4F7-9CCF-9BB113943A26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9972E15-9E85-0787-F94C-C986131B5632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5B9E3FA-7729-CA90-1EF8-28AAACF77F7E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796227B-52CA-5384-DDC3-5860F7197FBB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761F05-076C-4C00-33C3-FFE16397435B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EA8E2A1-4A08-9EE4-0D1A-FDD173692C88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CB7632-EC0D-9CAE-238B-C19176169CE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C2D665E-5B02-6E84-8449-72F7C317B83B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5744F64-AFFE-3928-01B0-7BE7953B12E9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AC9828C-96FF-B122-1581-E514FDBFA6C9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57FB4547-89BF-2E72-0548-239369471E41}"/>
              </a:ext>
            </a:extLst>
          </p:cNvPr>
          <p:cNvSpPr/>
          <p:nvPr userDrawn="1"/>
        </p:nvSpPr>
        <p:spPr>
          <a:xfrm>
            <a:off x="710974" y="1657783"/>
            <a:ext cx="4570748" cy="457074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2900" dist="381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99DEF7-DFF9-5533-FE5D-990FBA520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1" y="386291"/>
            <a:ext cx="4002619" cy="8985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764AFBB-D315-04F6-A20C-E0BC6F605D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9004" y="2613358"/>
            <a:ext cx="3354688" cy="26595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0">
                <a:solidFill>
                  <a:srgbClr val="09544F"/>
                </a:solidFill>
                <a:latin typeface="+mj-lt"/>
              </a:defRPr>
            </a:lvl1pPr>
          </a:lstStyle>
          <a:p>
            <a:pPr lvl="0"/>
            <a:r>
              <a:rPr lang="en-US"/>
              <a:t>Caption 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EE6AE0E-6F01-1DE7-3A05-7FBD0DFB9101}"/>
              </a:ext>
            </a:extLst>
          </p:cNvPr>
          <p:cNvSpPr/>
          <p:nvPr userDrawn="1"/>
        </p:nvSpPr>
        <p:spPr>
          <a:xfrm>
            <a:off x="6713719" y="715963"/>
            <a:ext cx="4830581" cy="4968288"/>
          </a:xfrm>
          <a:prstGeom prst="roundRect">
            <a:avLst>
              <a:gd name="adj" fmla="val 2746"/>
            </a:avLst>
          </a:prstGeom>
          <a:solidFill>
            <a:srgbClr val="E1F1F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3C532BC-B497-3C61-2272-0B9102141C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68187" y="1011767"/>
            <a:ext cx="4029002" cy="67021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09544F"/>
                </a:solidFill>
                <a:latin typeface="+mj-lt"/>
              </a:defRPr>
            </a:lvl1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29" name="Chart Placeholder 28">
            <a:extLst>
              <a:ext uri="{FF2B5EF4-FFF2-40B4-BE49-F238E27FC236}">
                <a16:creationId xmlns:a16="http://schemas.microsoft.com/office/drawing/2014/main" id="{A45E73E4-C2DA-FE6C-66A3-93827A4BAC2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068188" y="1739900"/>
            <a:ext cx="4029002" cy="3662898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229F86D4-0775-980D-420F-165C5A35AE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FC9B703E-30CA-A30B-BAA9-CBF24122255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6204AFCF-CD6E-146F-3CDE-5B9695519C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22F31831-4947-F909-9377-AE12B6808B2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08489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70232-B767-0543-2C39-95DC42464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grpSp>
        <p:nvGrpSpPr>
          <p:cNvPr id="4" name="Graphic 10">
            <a:extLst>
              <a:ext uri="{FF2B5EF4-FFF2-40B4-BE49-F238E27FC236}">
                <a16:creationId xmlns:a16="http://schemas.microsoft.com/office/drawing/2014/main" id="{0A96AC4D-699A-A566-51CC-9BA10EC2C069}"/>
              </a:ext>
            </a:extLst>
          </p:cNvPr>
          <p:cNvGrpSpPr/>
          <p:nvPr userDrawn="1"/>
        </p:nvGrpSpPr>
        <p:grpSpPr>
          <a:xfrm rot="19800000">
            <a:off x="8826358" y="-1872306"/>
            <a:ext cx="5623058" cy="2811529"/>
            <a:chOff x="6919912" y="3216683"/>
            <a:chExt cx="2628900" cy="1314450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4FD7618-50EA-F112-2FD5-1E52276623C6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56C6E98-914C-1B71-20D4-D66D5292289F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D652EC9-1367-1B16-81D3-9AF51FB82608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5037E4F-E5DC-CED9-567E-99D2F8B0D5E8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BAC9144-8617-B775-5E63-DF09ECCC588A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B9AE962-1881-E625-EF01-2D775B61E87B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C19903D-A38C-DACB-5A2A-37EA9C9EACF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B98E8FA-75A7-E8D1-1C45-FC543A76D943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7D58EEA-2929-D6A7-AD61-DBDA71311DB4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75ABF8-7DC2-EB1E-100C-AD11BE1DC28C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1F9B428-891F-2E9E-47DA-2E6F4750AF5A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6FF15E0-C04D-F81A-30B3-3091DFFF6A98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8B6E9D5-6E9E-707C-46AE-3F95A7EBDB54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7C67E35-D2A9-3E22-4365-F5C2FDF6AFAF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1" name="Text Placeholder 31">
            <a:extLst>
              <a:ext uri="{FF2B5EF4-FFF2-40B4-BE49-F238E27FC236}">
                <a16:creationId xmlns:a16="http://schemas.microsoft.com/office/drawing/2014/main" id="{5370CABD-40CA-A00F-5112-9B139957A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1264C051-5586-2197-028F-E8E9F9D52B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91131EDC-D8FE-F647-6038-FEB6A0B620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D3285C21-018F-12E8-531D-537E6410D14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16764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Title, 3 Char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C3F4F7E-9AD7-99DB-0A12-971A94262B89}"/>
              </a:ext>
            </a:extLst>
          </p:cNvPr>
          <p:cNvSpPr/>
          <p:nvPr userDrawn="1"/>
        </p:nvSpPr>
        <p:spPr>
          <a:xfrm>
            <a:off x="328421" y="1590675"/>
            <a:ext cx="11520679" cy="4489569"/>
          </a:xfrm>
          <a:prstGeom prst="roundRect">
            <a:avLst>
              <a:gd name="adj" fmla="val 5110"/>
            </a:avLst>
          </a:prstGeom>
          <a:solidFill>
            <a:srgbClr val="E1F1F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  <a:sym typeface="Arial"/>
            </a:endParaRPr>
          </a:p>
        </p:txBody>
      </p:sp>
      <p:grpSp>
        <p:nvGrpSpPr>
          <p:cNvPr id="24" name="Graphic 10">
            <a:extLst>
              <a:ext uri="{FF2B5EF4-FFF2-40B4-BE49-F238E27FC236}">
                <a16:creationId xmlns:a16="http://schemas.microsoft.com/office/drawing/2014/main" id="{10F5FC5A-D3D9-2C86-B672-0239E8A08016}"/>
              </a:ext>
            </a:extLst>
          </p:cNvPr>
          <p:cNvGrpSpPr/>
          <p:nvPr userDrawn="1"/>
        </p:nvGrpSpPr>
        <p:grpSpPr>
          <a:xfrm rot="1800000">
            <a:off x="7326166" y="-930067"/>
            <a:ext cx="6038399" cy="3019200"/>
            <a:chOff x="6919912" y="3216683"/>
            <a:chExt cx="2628900" cy="1314450"/>
          </a:xfrm>
          <a:noFill/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BED8A0F-9C32-B5CE-4F20-14F67D186E7E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71595D6-0C16-895A-6C18-2508C257ADF8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9F7CFA-C15B-A7D0-24A1-BC2B8120918B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7546236-4F39-A8D8-1492-F3A0D1FDFDDF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9D5A315-2F03-4546-735B-CED9E9387C29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8CCAA4B-2F1D-3721-3314-103F5C95C641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EEC67B7-1C38-3CAA-E811-9458F7AB462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D762A46-EB1C-CE85-8F8C-49FB2610A6C1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EF7974-C218-D9C0-74E0-5DA2A269FA4C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8348B1C-15FF-20E3-612C-72D2AF3AA389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4B093C-A9EE-9CC9-87CE-FB4BA61F7C5F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B5A8F4B-CCF2-6E6C-E9C1-562718382EBB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86C8869-5FCA-47A8-866B-C0CCB2BC11E4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1136BE-EE5A-9D2D-E80A-CBDD92F051F6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26000"/>
                    </a:schemeClr>
                  </a:gs>
                  <a:gs pos="100000">
                    <a:schemeClr val="bg2"/>
                  </a:gs>
                </a:gsLst>
                <a:lin ang="48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40" name="bg object 17">
            <a:extLst>
              <a:ext uri="{FF2B5EF4-FFF2-40B4-BE49-F238E27FC236}">
                <a16:creationId xmlns:a16="http://schemas.microsoft.com/office/drawing/2014/main" id="{12246E57-6F6F-8F2D-AE5F-4F1B64A6C38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092903" y="235561"/>
            <a:ext cx="1865417" cy="6688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470232-B767-0543-2C39-95DC42464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0" y="386291"/>
            <a:ext cx="9104209" cy="89858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3 CHARTS</a:t>
            </a:r>
          </a:p>
        </p:txBody>
      </p:sp>
      <p:sp>
        <p:nvSpPr>
          <p:cNvPr id="42" name="Chart Placeholder 41">
            <a:extLst>
              <a:ext uri="{FF2B5EF4-FFF2-40B4-BE49-F238E27FC236}">
                <a16:creationId xmlns:a16="http://schemas.microsoft.com/office/drawing/2014/main" id="{3261A481-FED9-4469-E561-7642587E27FC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85800" y="2780228"/>
            <a:ext cx="3381376" cy="28919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4" name="Chart Placeholder 41">
            <a:extLst>
              <a:ext uri="{FF2B5EF4-FFF2-40B4-BE49-F238E27FC236}">
                <a16:creationId xmlns:a16="http://schemas.microsoft.com/office/drawing/2014/main" id="{8B308D49-17FD-57A4-00CE-19C457D2F861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124824" y="2780228"/>
            <a:ext cx="3381376" cy="28919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5" name="Chart Placeholder 41">
            <a:extLst>
              <a:ext uri="{FF2B5EF4-FFF2-40B4-BE49-F238E27FC236}">
                <a16:creationId xmlns:a16="http://schemas.microsoft.com/office/drawing/2014/main" id="{B691804F-69A5-0F3D-7E0C-539F369D0EA0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405312" y="2780228"/>
            <a:ext cx="3381376" cy="28919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7A4F3EDA-15E5-BB6A-176A-1A7AA3981E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3" name="Date Placeholder 52">
            <a:extLst>
              <a:ext uri="{FF2B5EF4-FFF2-40B4-BE49-F238E27FC236}">
                <a16:creationId xmlns:a16="http://schemas.microsoft.com/office/drawing/2014/main" id="{00206EA7-70D3-3A36-9855-F112F736C59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D47BF2CF-E159-D165-2BAC-58C17D92DD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5C4C6016-16BE-2473-3A52-232AE8F85A4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44008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FEE16-271E-776F-646A-A2497EC86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</a:t>
            </a:r>
          </a:p>
        </p:txBody>
      </p:sp>
      <p:grpSp>
        <p:nvGrpSpPr>
          <p:cNvPr id="4" name="Graphic 10">
            <a:extLst>
              <a:ext uri="{FF2B5EF4-FFF2-40B4-BE49-F238E27FC236}">
                <a16:creationId xmlns:a16="http://schemas.microsoft.com/office/drawing/2014/main" id="{0B8FE53A-BE97-9649-F37D-BA4070CA6FDB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165C061-2544-4F23-E1D3-91A5625E2206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82C804F-B4FA-E39D-4945-6111E3282DAB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467C02D-A776-7C2E-4854-E18598E062D0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2B322C1-1D8E-BCFA-74C3-31C774E003BF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BEE1E2-22EE-413C-BF13-2F73EE8F5545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AA060AA-B82C-9037-1F84-0E826D48DA30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2678806-9603-07E9-8EFC-79B88361C87D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0D5F9F-A870-AF9B-CA64-8FB17BF67ED5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02AA79F-C158-7D47-CED3-7CEDD29F1876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CCBAF6A-93B4-743D-AE30-11B6F0EAB78E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F090FE4-834D-7E18-C770-39C6B0BBE57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474850-82EC-D26B-2ABF-C0D906AF316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350680-72E3-2C93-FC13-89D766A68E01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DC84C52-0008-950A-F030-F448D9684F12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AE691651-16A3-CF3D-757B-2BC158F74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49B0B463-9E92-2457-E460-904456F421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2F2A0C94-7915-6181-9387-19F3AFCBE6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9392875-79B8-2694-F13F-9EF8F339FB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56974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1885258-3445-05A0-3A33-BE22DA4C9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2B8DDB7-739E-2EAA-DFFE-7E814C4114F6}"/>
              </a:ext>
            </a:extLst>
          </p:cNvPr>
          <p:cNvCxnSpPr>
            <a:cxnSpLocks/>
          </p:cNvCxnSpPr>
          <p:nvPr userDrawn="1"/>
        </p:nvCxnSpPr>
        <p:spPr>
          <a:xfrm>
            <a:off x="3086746" y="342723"/>
            <a:ext cx="8620288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57FAB58-1E2C-A871-884B-54C19C293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3509" y="160159"/>
            <a:ext cx="452022" cy="365125"/>
          </a:xfrm>
        </p:spPr>
        <p:txBody>
          <a:bodyPr/>
          <a:lstStyle>
            <a:lvl1pPr algn="ctr">
              <a:defRPr sz="833" b="0" i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D7949E7-8893-2F47-9FA2-BCFCEBC09C5E}" type="slidenum">
              <a:rPr kumimoji="0" lang="en-US" sz="833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833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2602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longtitle_no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B6B689D-2562-935F-E3C8-721D3C94E9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85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6B689D-2562-935F-E3C8-721D3C94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1DCDB4A8-5BA7-224B-B09B-2F45B8DEF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750" y="2242800"/>
            <a:ext cx="8465820" cy="158300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 sz="5400" b="1" cap="none" baseline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Presentation titl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C8918EFC-60F3-674E-8D82-11B86D6C66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000" y="4161600"/>
            <a:ext cx="8465820" cy="847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buNone/>
              <a:defRPr sz="1800" b="1" i="0" cap="all" baseline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Optional Sub Title or Image Goes Here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07E753A6-0255-47E1-AF3E-BE6C293C97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400" y="404813"/>
            <a:ext cx="17604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1DED6E42-4E07-4B48-B142-A84EA1F29A3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0000" y="404813"/>
            <a:ext cx="27252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80195485-1C86-4D1D-93E3-999011F871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14000" y="6180160"/>
            <a:ext cx="6134400" cy="365125"/>
          </a:xfrm>
          <a:prstGeom prst="rect">
            <a:avLst/>
          </a:prstGeom>
        </p:spPr>
        <p:txBody>
          <a:bodyPr lIns="0" tIns="64800" rIns="0" bIns="0"/>
          <a:lstStyle>
            <a:lvl1pPr rtl="0">
              <a:defRPr sz="1800" b="1"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A6A01D2-F1EB-B461-0804-2268D17B04F8}"/>
              </a:ext>
            </a:extLst>
          </p:cNvPr>
          <p:cNvGrpSpPr/>
          <p:nvPr userDrawn="1"/>
        </p:nvGrpSpPr>
        <p:grpSpPr>
          <a:xfrm>
            <a:off x="9533965" y="5370262"/>
            <a:ext cx="2658035" cy="1772022"/>
            <a:chOff x="10104418" y="5696776"/>
            <a:chExt cx="2087582" cy="1391720"/>
          </a:xfrm>
        </p:grpSpPr>
        <p:pic>
          <p:nvPicPr>
            <p:cNvPr id="16" name="Picture 15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0FDDF309-5BBA-6432-A5B2-87F19D4D92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17" name="Picture 16" descr="Background pattern&#10;&#10;Description automatically generated">
              <a:extLst>
                <a:ext uri="{FF2B5EF4-FFF2-40B4-BE49-F238E27FC236}">
                  <a16:creationId xmlns:a16="http://schemas.microsoft.com/office/drawing/2014/main" id="{E5F87DA6-BC2D-B960-346C-77A7619A1DA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94127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_longtitle_sma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B1CA61-BD52-DA18-E828-56126DBD1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442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B1CA61-BD52-DA18-E828-56126DBD1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897DA2-8A62-D517-7D46-1A08391A2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35775" y="404813"/>
            <a:ext cx="4939806" cy="5061468"/>
          </a:xfrm>
          <a:prstGeom prst="round2DiagRect">
            <a:avLst>
              <a:gd name="adj1" fmla="val 0"/>
              <a:gd name="adj2" fmla="val 23366"/>
            </a:avLst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1DCDB4A8-5BA7-224B-B09B-2F45B8DEF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750" y="2242800"/>
            <a:ext cx="6421775" cy="158300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 sz="5400" b="1" cap="none" baseline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Presentation titl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C8918EFC-60F3-674E-8D82-11B86D6C66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000" y="4161600"/>
            <a:ext cx="6421775" cy="847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buNone/>
              <a:defRPr sz="1800" b="1" i="0" cap="all" baseline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Optional Sub Title or Image Goes Here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07E753A6-0255-47E1-AF3E-BE6C293C97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400" y="404813"/>
            <a:ext cx="17604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1DED6E42-4E07-4B48-B142-A84EA1F29A3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0000" y="404813"/>
            <a:ext cx="27252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80195485-1C86-4D1D-93E3-999011F871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14000" y="6180160"/>
            <a:ext cx="6134400" cy="365125"/>
          </a:xfrm>
          <a:prstGeom prst="rect">
            <a:avLst/>
          </a:prstGeom>
        </p:spPr>
        <p:txBody>
          <a:bodyPr lIns="0" tIns="64800" rIns="0" bIns="0"/>
          <a:lstStyle>
            <a:lvl1pPr rtl="0">
              <a:defRPr sz="1800" b="1"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738EF60-384F-0752-42A9-B366BCFB45B4}"/>
              </a:ext>
            </a:extLst>
          </p:cNvPr>
          <p:cNvGrpSpPr/>
          <p:nvPr userDrawn="1"/>
        </p:nvGrpSpPr>
        <p:grpSpPr>
          <a:xfrm>
            <a:off x="10104418" y="5696776"/>
            <a:ext cx="2087582" cy="1391720"/>
            <a:chOff x="10104418" y="5696776"/>
            <a:chExt cx="2087582" cy="1391720"/>
          </a:xfrm>
        </p:grpSpPr>
        <p:pic>
          <p:nvPicPr>
            <p:cNvPr id="10" name="Picture 9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6F3BBBD6-722E-D1D9-E320-5CA4316356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12" name="Picture 11" descr="Background pattern&#10;&#10;Description automatically generated">
              <a:extLst>
                <a:ext uri="{FF2B5EF4-FFF2-40B4-BE49-F238E27FC236}">
                  <a16:creationId xmlns:a16="http://schemas.microsoft.com/office/drawing/2014/main" id="{F2BC0F09-5766-D1A0-A182-5922AE9D48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35074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_longtitle_big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9F5375-5587-D475-E6A2-9D125B8F0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63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9F5375-5587-D475-E6A2-9D125B8F0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2818FF4-B945-957A-803D-3F350FC46B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1DCDB4A8-5BA7-224B-B09B-2F45B8DEF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750" y="2242800"/>
            <a:ext cx="8465820" cy="158300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 sz="5400" b="1" cap="none" baseline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Presentation titl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C8918EFC-60F3-674E-8D82-11B86D6C66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000" y="4161600"/>
            <a:ext cx="8465820" cy="847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buNone/>
              <a:defRPr sz="1800" b="1" i="0" cap="all" baseline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Optional Sub Title or Image Goes Here</a:t>
            </a:r>
          </a:p>
        </p:txBody>
      </p:sp>
    </p:spTree>
    <p:extLst>
      <p:ext uri="{BB962C8B-B14F-4D97-AF65-F5344CB8AC3E}">
        <p14:creationId xmlns:p14="http://schemas.microsoft.com/office/powerpoint/2010/main" val="1835127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longtitle_im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6E0B1A2-FBC2-6056-A56B-7800CA533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05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E0B1A2-FBC2-6056-A56B-7800CA533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9ED96C2C-21F1-BCE3-FBDB-27A5BF0606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023096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_longtitle_noimage_v2">
    <p:bg>
      <p:bgPr>
        <a:solidFill>
          <a:srgbClr val="D8A8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16B8FB-0AFD-F545-618D-6A4C098CB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99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16B8FB-0AFD-F545-618D-6A4C098CB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8A8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1DCDB4A8-5BA7-224B-B09B-2F45B8DEF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750" y="2242800"/>
            <a:ext cx="8465820" cy="158300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 sz="5400" b="1" cap="none" baseline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Presentation titl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C8918EFC-60F3-674E-8D82-11B86D6C66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000" y="4161600"/>
            <a:ext cx="8465820" cy="847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buNone/>
              <a:defRPr sz="1800" b="1" i="0" cap="all" baseline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Optional Sub Title or Image Goes Here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07E753A6-0255-47E1-AF3E-BE6C293C97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400" y="404813"/>
            <a:ext cx="17604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1DED6E42-4E07-4B48-B142-A84EA1F29A3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0000" y="404813"/>
            <a:ext cx="27252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pic>
        <p:nvPicPr>
          <p:cNvPr id="11" name="Picture 10" descr="A picture containing text, fan, device, vector graphics&#10;&#10;Description automatically generated">
            <a:extLst>
              <a:ext uri="{FF2B5EF4-FFF2-40B4-BE49-F238E27FC236}">
                <a16:creationId xmlns:a16="http://schemas.microsoft.com/office/drawing/2014/main" id="{964C14A4-4A84-E9CC-2212-713787845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07" t="-3249" r="-1" b="16776"/>
          <a:stretch/>
        </p:blipFill>
        <p:spPr>
          <a:xfrm>
            <a:off x="10018059" y="5650716"/>
            <a:ext cx="2173942" cy="1207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_longtitle_noim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667E26-AD32-098A-F780-9008D12EA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6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667E26-AD32-098A-F780-9008D12EA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1DCDB4A8-5BA7-224B-B09B-2F45B8DEF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750" y="2242800"/>
            <a:ext cx="8465820" cy="158300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 sz="5400" b="1" cap="none" baseline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Presentation titl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C8918EFC-60F3-674E-8D82-11B86D6C66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000" y="4161600"/>
            <a:ext cx="8465820" cy="847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buNone/>
              <a:defRPr sz="1800" b="1" i="0" cap="all" baseline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Optional Sub Title or Image Goes Here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07E753A6-0255-47E1-AF3E-BE6C293C97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400" y="404813"/>
            <a:ext cx="17604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1DED6E42-4E07-4B48-B142-A84EA1F29A3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0000" y="404813"/>
            <a:ext cx="2725200" cy="52200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80195485-1C86-4D1D-93E3-999011F871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14000" y="6180160"/>
            <a:ext cx="6134400" cy="365125"/>
          </a:xfrm>
          <a:prstGeom prst="rect">
            <a:avLst/>
          </a:prstGeom>
        </p:spPr>
        <p:txBody>
          <a:bodyPr lIns="0" tIns="64800" rIns="0" bIns="0"/>
          <a:lstStyle>
            <a:lvl1pPr rtl="0">
              <a:defRPr sz="1800" b="1"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738EF60-384F-0752-42A9-B366BCFB45B4}"/>
              </a:ext>
            </a:extLst>
          </p:cNvPr>
          <p:cNvGrpSpPr/>
          <p:nvPr userDrawn="1"/>
        </p:nvGrpSpPr>
        <p:grpSpPr>
          <a:xfrm>
            <a:off x="10104418" y="5696776"/>
            <a:ext cx="2087582" cy="1391720"/>
            <a:chOff x="10104418" y="5696776"/>
            <a:chExt cx="2087582" cy="1391720"/>
          </a:xfrm>
        </p:grpSpPr>
        <p:pic>
          <p:nvPicPr>
            <p:cNvPr id="10" name="Picture 9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6F3BBBD6-722E-D1D9-E320-5CA4316356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12" name="Picture 11" descr="Background pattern&#10;&#10;Description automatically generated">
              <a:extLst>
                <a:ext uri="{FF2B5EF4-FFF2-40B4-BE49-F238E27FC236}">
                  <a16:creationId xmlns:a16="http://schemas.microsoft.com/office/drawing/2014/main" id="{F2BC0F09-5766-D1A0-A182-5922AE9D48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 amt="5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04165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 - lo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39B869A-96E5-294C-9AF1-AA5D645D6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06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9B869A-96E5-294C-9AF1-AA5D645D6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8406000" cy="3949200"/>
          </a:xfrm>
        </p:spPr>
        <p:txBody>
          <a:bodyPr/>
          <a:lstStyle>
            <a:lvl1pPr rtl="0">
              <a:lnSpc>
                <a:spcPct val="90000"/>
              </a:lnSpc>
              <a:defRPr sz="3600" spc="-7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1540690-CB29-DA99-378D-5AECAA01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A picture containing fan, vector graphics&#10;&#10;Description automatically generated">
            <a:extLst>
              <a:ext uri="{FF2B5EF4-FFF2-40B4-BE49-F238E27FC236}">
                <a16:creationId xmlns:a16="http://schemas.microsoft.com/office/drawing/2014/main" id="{65AE545C-345B-F244-D264-4B91B807D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828" b="15396"/>
          <a:stretch/>
        </p:blipFill>
        <p:spPr>
          <a:xfrm>
            <a:off x="10117436" y="5586413"/>
            <a:ext cx="2086139" cy="127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7448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 - long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7234A28-A0BB-8277-7101-E05FABBAB4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70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34A28-A0BB-8277-7101-E05FABBAB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532267" cy="3949200"/>
          </a:xfrm>
        </p:spPr>
        <p:txBody>
          <a:bodyPr anchor="ctr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5460" b="1" kern="1200" spc="-7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fan, vector graphics&#10;&#10;Description automatically generated">
            <a:extLst>
              <a:ext uri="{FF2B5EF4-FFF2-40B4-BE49-F238E27FC236}">
                <a16:creationId xmlns:a16="http://schemas.microsoft.com/office/drawing/2014/main" id="{AFA09259-5594-2BB4-031B-0A2F8E5595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855" b="15396"/>
          <a:stretch/>
        </p:blipFill>
        <p:spPr>
          <a:xfrm>
            <a:off x="10117436" y="5572125"/>
            <a:ext cx="2086139" cy="128587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CCA4604-6C39-568E-A32B-3FB7BCC74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425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 - long pink">
    <p:bg>
      <p:bgPr>
        <a:solidFill>
          <a:srgbClr val="FF6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6FDF2C9-7378-E0B9-0FFE-1C32AE1096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749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FDF2C9-7378-E0B9-0FFE-1C32AE109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532267" cy="3949200"/>
          </a:xfrm>
        </p:spPr>
        <p:txBody>
          <a:bodyPr anchor="ctr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5460" b="1" kern="1200" spc="-7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8FDF2A2-A141-9A1E-6FF4-1DA8D24AB9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alphaModFix amt="3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266" b="7698"/>
          <a:stretch/>
        </p:blipFill>
        <p:spPr>
          <a:xfrm>
            <a:off x="10117436" y="5514975"/>
            <a:ext cx="2086139" cy="134302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EBA28F-F4DA-12C8-FB58-4C3EEB043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8083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 - longyellow">
    <p:bg>
      <p:bgPr>
        <a:solidFill>
          <a:srgbClr val="D8A8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FE3D80-6C04-4E4B-1B9A-1D69957EA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300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FE3D80-6C04-4E4B-1B9A-1D69957EA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fan, device, vector graphics&#10;&#10;Description automatically generated">
            <a:extLst>
              <a:ext uri="{FF2B5EF4-FFF2-40B4-BE49-F238E27FC236}">
                <a16:creationId xmlns:a16="http://schemas.microsoft.com/office/drawing/2014/main" id="{F19926F2-31EB-7443-A174-009AB2740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07" t="-3249" r="-1" b="16776"/>
          <a:stretch/>
        </p:blipFill>
        <p:spPr>
          <a:xfrm>
            <a:off x="10018059" y="5650716"/>
            <a:ext cx="2173942" cy="1207284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837067" cy="3949200"/>
          </a:xfrm>
        </p:spPr>
        <p:txBody>
          <a:bodyPr anchor="ctr"/>
          <a:lstStyle>
            <a:lvl1pPr rtl="0">
              <a:lnSpc>
                <a:spcPct val="90000"/>
              </a:lnSpc>
              <a:defRPr lang="en-GB" sz="5460" b="1" kern="1200" spc="-7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61ECE4-1AFA-2112-211D-1525421084DE}"/>
              </a:ext>
            </a:extLst>
          </p:cNvPr>
          <p:cNvSpPr txBox="1"/>
          <p:nvPr userDrawn="1"/>
        </p:nvSpPr>
        <p:spPr>
          <a:xfrm>
            <a:off x="12350187" y="533592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rtl="0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1F6073F-F3D2-B6AD-1857-13F552A6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590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quote slide - long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3C7FA5-16AF-B16B-13CF-7F207C2F2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366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3C7FA5-16AF-B16B-13CF-7F207C2F2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837067" cy="3949200"/>
          </a:xfrm>
        </p:spPr>
        <p:txBody>
          <a:bodyPr anchor="ctr"/>
          <a:lstStyle>
            <a:lvl1pPr rtl="0">
              <a:lnSpc>
                <a:spcPct val="90000"/>
              </a:lnSpc>
              <a:defRPr lang="en-GB" sz="5460" b="1" kern="1200" spc="-7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A036882-8466-CF8A-256C-83F3263108A7}"/>
              </a:ext>
            </a:extLst>
          </p:cNvPr>
          <p:cNvGrpSpPr/>
          <p:nvPr userDrawn="1"/>
        </p:nvGrpSpPr>
        <p:grpSpPr>
          <a:xfrm>
            <a:off x="10104419" y="5696776"/>
            <a:ext cx="2087581" cy="1400805"/>
            <a:chOff x="10104419" y="5696776"/>
            <a:chExt cx="2087581" cy="1400805"/>
          </a:xfrm>
        </p:grpSpPr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84DD63E-713A-7C1F-40A0-4B1D6494903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3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9" y="5696776"/>
              <a:ext cx="2087581" cy="1161224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1C3D405-57C8-A00A-66FB-A15599A1AF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4EFAD4-1BD0-307B-871B-A70D2A309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5667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quote slide - long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5225EF1-8896-3F4D-1627-0760BD508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698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25EF1-8896-3F4D-1627-0760BD508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837067" cy="3949200"/>
          </a:xfrm>
        </p:spPr>
        <p:txBody>
          <a:bodyPr anchor="ctr"/>
          <a:lstStyle>
            <a:lvl1pPr rtl="0">
              <a:lnSpc>
                <a:spcPct val="90000"/>
              </a:lnSpc>
              <a:defRPr lang="en-GB" sz="5460" b="1" kern="1200" spc="-7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E84DD63E-713A-7C1F-40A0-4B1D649490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alphaModFix amt="2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7" b="16776"/>
          <a:stretch/>
        </p:blipFill>
        <p:spPr>
          <a:xfrm>
            <a:off x="10104419" y="5696776"/>
            <a:ext cx="2087581" cy="1161224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4EFAD4-1BD0-307B-871B-A70D2A309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accent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6045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quote slide - long Da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893C0B5-287A-FF58-E93D-6F70EDCF3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75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93C0B5-287A-FF58-E93D-6F70EDCF3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402"/>
            <a:ext cx="6837067" cy="3949200"/>
          </a:xfrm>
        </p:spPr>
        <p:txBody>
          <a:bodyPr anchor="ctr"/>
          <a:lstStyle>
            <a:lvl1pPr rtl="0">
              <a:lnSpc>
                <a:spcPct val="90000"/>
              </a:lnSpc>
              <a:defRPr lang="en-GB" sz="5460" b="1" kern="1200" spc="-7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EEC0484-BD49-27AF-FD6F-087275ADC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F417A88-88FC-4422-3E2A-3474014817F0}"/>
              </a:ext>
            </a:extLst>
          </p:cNvPr>
          <p:cNvGrpSpPr/>
          <p:nvPr userDrawn="1"/>
        </p:nvGrpSpPr>
        <p:grpSpPr>
          <a:xfrm>
            <a:off x="10104418" y="5696776"/>
            <a:ext cx="2087582" cy="1391720"/>
            <a:chOff x="10104418" y="5696776"/>
            <a:chExt cx="2087582" cy="1391720"/>
          </a:xfrm>
        </p:grpSpPr>
        <p:pic>
          <p:nvPicPr>
            <p:cNvPr id="15" name="Picture 14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0E2E8C9C-966C-244A-0B40-C923973C82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16" name="Picture 15" descr="Background pattern&#10;&#10;Description automatically generated">
              <a:extLst>
                <a:ext uri="{FF2B5EF4-FFF2-40B4-BE49-F238E27FC236}">
                  <a16:creationId xmlns:a16="http://schemas.microsoft.com/office/drawing/2014/main" id="{FABE5321-C496-8AD6-D9FB-2B766789DE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72332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image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854E32-227E-292F-EF6F-27C6B075A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04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854E32-227E-292F-EF6F-27C6B075A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B86E11-69BE-4267-9976-95A2AA0C6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5682002" cy="81000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CDCBE6-BD4C-4E3A-9642-7356125A87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4000" y="2278800"/>
            <a:ext cx="3600000" cy="3586163"/>
          </a:xfr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F565F5D-6E7B-4DAD-9B2B-151C45CDD2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4821" y="0"/>
            <a:ext cx="4937181" cy="6858000"/>
          </a:xfrm>
          <a:custGeom>
            <a:avLst/>
            <a:gdLst>
              <a:gd name="connsiteX0" fmla="*/ 773061 w 4937181"/>
              <a:gd name="connsiteY0" fmla="*/ 0 h 6858000"/>
              <a:gd name="connsiteX1" fmla="*/ 4937181 w 4937181"/>
              <a:gd name="connsiteY1" fmla="*/ 0 h 6858000"/>
              <a:gd name="connsiteX2" fmla="*/ 4937181 w 4937181"/>
              <a:gd name="connsiteY2" fmla="*/ 6858000 h 6858000"/>
              <a:gd name="connsiteX3" fmla="*/ 0 w 4937181"/>
              <a:gd name="connsiteY3" fmla="*/ 6858000 h 6858000"/>
              <a:gd name="connsiteX4" fmla="*/ 82466 w 4937181"/>
              <a:gd name="connsiteY4" fmla="*/ 6836797 h 6858000"/>
              <a:gd name="connsiteX5" fmla="*/ 773061 w 4937181"/>
              <a:gd name="connsiteY5" fmla="*/ 5898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181" h="6858000">
                <a:moveTo>
                  <a:pt x="773061" y="0"/>
                </a:moveTo>
                <a:lnTo>
                  <a:pt x="4937181" y="0"/>
                </a:lnTo>
                <a:lnTo>
                  <a:pt x="4937181" y="6858000"/>
                </a:lnTo>
                <a:lnTo>
                  <a:pt x="0" y="6858000"/>
                </a:lnTo>
                <a:lnTo>
                  <a:pt x="82466" y="6836797"/>
                </a:lnTo>
                <a:cubicBezTo>
                  <a:pt x="482563" y="6712359"/>
                  <a:pt x="773061" y="6339179"/>
                  <a:pt x="773061" y="589815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5C73BE-A08F-48CE-BFC6-CC154A7F0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1866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image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30B51B-FFEA-5533-7C58-440BFFBE0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526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30B51B-FFEA-5533-7C58-440BFFBE0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F565F5D-6E7B-4DAD-9B2B-151C45CDD2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4821" y="0"/>
            <a:ext cx="4937181" cy="6858000"/>
          </a:xfrm>
          <a:custGeom>
            <a:avLst/>
            <a:gdLst>
              <a:gd name="connsiteX0" fmla="*/ 773061 w 4937181"/>
              <a:gd name="connsiteY0" fmla="*/ 0 h 6858000"/>
              <a:gd name="connsiteX1" fmla="*/ 4937181 w 4937181"/>
              <a:gd name="connsiteY1" fmla="*/ 0 h 6858000"/>
              <a:gd name="connsiteX2" fmla="*/ 4937181 w 4937181"/>
              <a:gd name="connsiteY2" fmla="*/ 6858000 h 6858000"/>
              <a:gd name="connsiteX3" fmla="*/ 0 w 4937181"/>
              <a:gd name="connsiteY3" fmla="*/ 6858000 h 6858000"/>
              <a:gd name="connsiteX4" fmla="*/ 82466 w 4937181"/>
              <a:gd name="connsiteY4" fmla="*/ 6836797 h 6858000"/>
              <a:gd name="connsiteX5" fmla="*/ 773061 w 4937181"/>
              <a:gd name="connsiteY5" fmla="*/ 5898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181" h="6858000">
                <a:moveTo>
                  <a:pt x="773061" y="0"/>
                </a:moveTo>
                <a:lnTo>
                  <a:pt x="4937181" y="0"/>
                </a:lnTo>
                <a:lnTo>
                  <a:pt x="4937181" y="6858000"/>
                </a:lnTo>
                <a:lnTo>
                  <a:pt x="0" y="6858000"/>
                </a:lnTo>
                <a:lnTo>
                  <a:pt x="82466" y="6836797"/>
                </a:lnTo>
                <a:cubicBezTo>
                  <a:pt x="482563" y="6712359"/>
                  <a:pt x="773061" y="6339179"/>
                  <a:pt x="773061" y="589815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5C73BE-A08F-48CE-BFC6-CC154A7F0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737742C-E457-4AEA-80EA-1E7D4B2E7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800" y="2070000"/>
            <a:ext cx="6588000" cy="3528000"/>
          </a:xfrm>
        </p:spPr>
        <p:txBody>
          <a:bodyPr vert="horz"/>
          <a:lstStyle>
            <a:lvl1pPr rtl="0"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27612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_Text + image Yellow">
    <p:bg>
      <p:bgPr>
        <a:solidFill>
          <a:srgbClr val="D8A8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274CDDB-F824-99B1-7415-86A463650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6952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74CDDB-F824-99B1-7415-86A463650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F565F5D-6E7B-4DAD-9B2B-151C45CDD2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4821" y="0"/>
            <a:ext cx="4937181" cy="6858000"/>
          </a:xfrm>
          <a:custGeom>
            <a:avLst/>
            <a:gdLst>
              <a:gd name="connsiteX0" fmla="*/ 773061 w 4937181"/>
              <a:gd name="connsiteY0" fmla="*/ 0 h 6858000"/>
              <a:gd name="connsiteX1" fmla="*/ 4937181 w 4937181"/>
              <a:gd name="connsiteY1" fmla="*/ 0 h 6858000"/>
              <a:gd name="connsiteX2" fmla="*/ 4937181 w 4937181"/>
              <a:gd name="connsiteY2" fmla="*/ 6858000 h 6858000"/>
              <a:gd name="connsiteX3" fmla="*/ 0 w 4937181"/>
              <a:gd name="connsiteY3" fmla="*/ 6858000 h 6858000"/>
              <a:gd name="connsiteX4" fmla="*/ 82466 w 4937181"/>
              <a:gd name="connsiteY4" fmla="*/ 6836797 h 6858000"/>
              <a:gd name="connsiteX5" fmla="*/ 773061 w 4937181"/>
              <a:gd name="connsiteY5" fmla="*/ 5898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181" h="6858000">
                <a:moveTo>
                  <a:pt x="773061" y="0"/>
                </a:moveTo>
                <a:lnTo>
                  <a:pt x="4937181" y="0"/>
                </a:lnTo>
                <a:lnTo>
                  <a:pt x="4937181" y="6858000"/>
                </a:lnTo>
                <a:lnTo>
                  <a:pt x="0" y="6858000"/>
                </a:lnTo>
                <a:lnTo>
                  <a:pt x="82466" y="6836797"/>
                </a:lnTo>
                <a:cubicBezTo>
                  <a:pt x="482563" y="6712359"/>
                  <a:pt x="773061" y="6339179"/>
                  <a:pt x="773061" y="589815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5C73BE-A08F-48CE-BFC6-CC154A7F0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737742C-E457-4AEA-80EA-1E7D4B2E7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800" y="2070000"/>
            <a:ext cx="6588000" cy="3528000"/>
          </a:xfrm>
        </p:spPr>
        <p:txBody>
          <a:bodyPr vert="horz"/>
          <a:lstStyle>
            <a:lvl1pPr rtl="0"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96458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Gree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6A72803-E17D-DA54-9278-BA7A66121B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11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A72803-E17D-DA54-9278-BA7A66121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5682002" cy="810000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2278800"/>
            <a:ext cx="2887200" cy="3583838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 rtl="0">
              <a:defRPr>
                <a:solidFill>
                  <a:schemeClr val="tx2"/>
                </a:solidFill>
              </a:defRPr>
            </a:lvl2pPr>
            <a:lvl3pPr rtl="0">
              <a:defRPr>
                <a:solidFill>
                  <a:schemeClr val="tx2"/>
                </a:solidFill>
              </a:defRPr>
            </a:lvl3pPr>
            <a:lvl4pPr rtl="0">
              <a:defRPr>
                <a:solidFill>
                  <a:schemeClr val="tx2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001C-1224-4A4E-B9D2-F2723FC1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5636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36D9A2-2DF9-6C90-EAFA-A4419929D9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46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36D9A2-2DF9-6C90-EAFA-A4419929D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8F9A934A-FB6F-107A-A313-D7645548DAC3}"/>
              </a:ext>
            </a:extLst>
          </p:cNvPr>
          <p:cNvGrpSpPr/>
          <p:nvPr userDrawn="1"/>
        </p:nvGrpSpPr>
        <p:grpSpPr>
          <a:xfrm>
            <a:off x="10104419" y="5696776"/>
            <a:ext cx="2087581" cy="1400805"/>
            <a:chOff x="10104419" y="5696776"/>
            <a:chExt cx="2087581" cy="1400805"/>
          </a:xfrm>
        </p:grpSpPr>
        <p:pic>
          <p:nvPicPr>
            <p:cNvPr id="9" name="Picture 8" descr="Background pattern&#10;&#10;Description automatically generated">
              <a:extLst>
                <a:ext uri="{FF2B5EF4-FFF2-40B4-BE49-F238E27FC236}">
                  <a16:creationId xmlns:a16="http://schemas.microsoft.com/office/drawing/2014/main" id="{FE3E1F9D-5EA1-078B-D7A4-9969B02EEB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3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9" y="5696776"/>
              <a:ext cx="2087581" cy="116122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9DF3AF-C106-5B61-6BCA-CB74545D46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14545B-E5AF-4AA8-993C-DDFCDB514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DE4C2-D54D-4349-BBAE-F87C890BD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2757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D43819-F0F5-08AF-21CE-D53E10714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13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D43819-F0F5-08AF-21CE-D53E10714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8F9A934A-FB6F-107A-A313-D7645548DAC3}"/>
              </a:ext>
            </a:extLst>
          </p:cNvPr>
          <p:cNvGrpSpPr/>
          <p:nvPr userDrawn="1"/>
        </p:nvGrpSpPr>
        <p:grpSpPr>
          <a:xfrm>
            <a:off x="10814159" y="5696776"/>
            <a:ext cx="1400805" cy="1400805"/>
            <a:chOff x="10104419" y="5696776"/>
            <a:chExt cx="1400805" cy="1400805"/>
          </a:xfrm>
        </p:grpSpPr>
        <p:pic>
          <p:nvPicPr>
            <p:cNvPr id="9" name="Picture 8" descr="Background pattern&#10;&#10;Description automatically generated">
              <a:extLst>
                <a:ext uri="{FF2B5EF4-FFF2-40B4-BE49-F238E27FC236}">
                  <a16:creationId xmlns:a16="http://schemas.microsoft.com/office/drawing/2014/main" id="{FE3E1F9D-5EA1-078B-D7A4-9969B02EEB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3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3071" b="16776"/>
            <a:stretch/>
          </p:blipFill>
          <p:spPr>
            <a:xfrm>
              <a:off x="10104419" y="5696776"/>
              <a:ext cx="1400805" cy="116122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9DF3AF-C106-5B61-6BCA-CB74545D46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14545B-E5AF-4AA8-993C-DDFCDB514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DE4C2-D54D-4349-BBAE-F87C890BD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2379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04EA78-66E2-9E37-983F-28736F7966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200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04EA78-66E2-9E37-983F-28736F7966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647000"/>
            <a:ext cx="11392238" cy="356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001C-1224-4A4E-B9D2-F2723FC1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CA889811-EA2D-3AFB-1AF2-FB565F4624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505" r="33762" b="16776"/>
          <a:stretch/>
        </p:blipFill>
        <p:spPr>
          <a:xfrm>
            <a:off x="8901953" y="5027900"/>
            <a:ext cx="3290047" cy="183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940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5DA735-A840-3A46-F175-D946ACF71D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13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DA735-A840-3A46-F175-D946ACF71D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2278800"/>
            <a:ext cx="3510886" cy="3564000"/>
          </a:xfrm>
        </p:spPr>
        <p:txBody>
          <a:bodyPr/>
          <a:lstStyle>
            <a:lvl1pPr rtl="0">
              <a:defRPr sz="1600" b="0">
                <a:solidFill>
                  <a:schemeClr val="accent1"/>
                </a:solidFill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001C-1224-4A4E-B9D2-F2723FC1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BD6E66A-80F6-D0EB-2938-9E3FD8F52306}"/>
              </a:ext>
            </a:extLst>
          </p:cNvPr>
          <p:cNvGrpSpPr/>
          <p:nvPr userDrawn="1"/>
        </p:nvGrpSpPr>
        <p:grpSpPr>
          <a:xfrm>
            <a:off x="10813279" y="5650392"/>
            <a:ext cx="1665123" cy="1447189"/>
            <a:chOff x="10104419" y="5650392"/>
            <a:chExt cx="1665123" cy="1447189"/>
          </a:xfrm>
        </p:grpSpPr>
        <p:pic>
          <p:nvPicPr>
            <p:cNvPr id="8" name="Picture 7" descr="Background pattern&#10;&#10;Description automatically generated">
              <a:extLst>
                <a:ext uri="{FF2B5EF4-FFF2-40B4-BE49-F238E27FC236}">
                  <a16:creationId xmlns:a16="http://schemas.microsoft.com/office/drawing/2014/main" id="{95CB6984-AC61-6E99-3661-886667DE354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1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3319" b="16776"/>
            <a:stretch/>
          </p:blipFill>
          <p:spPr>
            <a:xfrm>
              <a:off x="10104420" y="5696776"/>
              <a:ext cx="1395598" cy="116122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E4F6057-6EC3-8303-99EA-D1BA465A8B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3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A5CF4AF-9B14-3E48-32B1-49DC19BC05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68737" y="5650392"/>
              <a:ext cx="1400805" cy="1400805"/>
            </a:xfrm>
            <a:prstGeom prst="rect">
              <a:avLst/>
            </a:prstGeom>
          </p:spPr>
        </p:pic>
      </p:grp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81306C33-B0BB-2234-720A-97DE13E2C5D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332288" y="2138363"/>
            <a:ext cx="7469187" cy="3705225"/>
          </a:xfrm>
        </p:spPr>
        <p:txBody>
          <a:bodyPr/>
          <a:lstStyle>
            <a:lvl1pPr rtl="0"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0178937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17ABFC-EA4A-3801-04BF-C19E6403D4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196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17ABFC-EA4A-3801-04BF-C19E6403D4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7A6339C-C931-6EC6-9BFC-8677FE70A3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98668" y="1657835"/>
            <a:ext cx="3301100" cy="810001"/>
          </a:xfrm>
        </p:spPr>
        <p:txBody>
          <a:bodyPr/>
          <a:lstStyle>
            <a:lvl1pPr rtl="0">
              <a:lnSpc>
                <a:spcPts val="2200"/>
              </a:lnSpc>
              <a:defRPr sz="2400" b="0" i="0" cap="all" baseline="0">
                <a:solidFill>
                  <a:schemeClr val="tx2"/>
                </a:solidFill>
                <a:latin typeface="Poppins" pitchFamily="2" charset="77"/>
              </a:defRPr>
            </a:lvl1pPr>
            <a:lvl2pPr rtl="0">
              <a:lnSpc>
                <a:spcPts val="2200"/>
              </a:lnSpc>
              <a:defRPr sz="2400" b="0" i="0" cap="all" baseline="0">
                <a:solidFill>
                  <a:schemeClr val="tx2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BB1D9D92-DB7B-72BE-C615-DC137FE28F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28797" y="1657835"/>
            <a:ext cx="3301100" cy="810001"/>
          </a:xfrm>
        </p:spPr>
        <p:txBody>
          <a:bodyPr/>
          <a:lstStyle>
            <a:lvl1pPr rtl="0">
              <a:lnSpc>
                <a:spcPts val="2200"/>
              </a:lnSpc>
              <a:defRPr sz="2400" b="0" i="0" cap="all" baseline="0">
                <a:solidFill>
                  <a:schemeClr val="tx2"/>
                </a:solidFill>
                <a:latin typeface="Poppins" pitchFamily="2" charset="77"/>
              </a:defRPr>
            </a:lvl1pPr>
            <a:lvl2pPr rtl="0">
              <a:defRPr sz="2400" b="0" i="0" cap="all" baseline="0">
                <a:solidFill>
                  <a:schemeClr val="tx2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6E970C41-6AD7-308B-AB0F-6226F472ED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34093" y="2467836"/>
            <a:ext cx="3247093" cy="2600325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760EB73-B8EB-9BFC-2E08-7F4D2180F1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98668" y="2467836"/>
            <a:ext cx="3247093" cy="2600325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F9A934A-FB6F-107A-A313-D7645548DAC3}"/>
              </a:ext>
            </a:extLst>
          </p:cNvPr>
          <p:cNvGrpSpPr/>
          <p:nvPr userDrawn="1"/>
        </p:nvGrpSpPr>
        <p:grpSpPr>
          <a:xfrm>
            <a:off x="10104419" y="5696776"/>
            <a:ext cx="2087581" cy="1400805"/>
            <a:chOff x="10104419" y="5696776"/>
            <a:chExt cx="2087581" cy="1400805"/>
          </a:xfrm>
        </p:grpSpPr>
        <p:pic>
          <p:nvPicPr>
            <p:cNvPr id="9" name="Picture 8" descr="Background pattern&#10;&#10;Description automatically generated">
              <a:extLst>
                <a:ext uri="{FF2B5EF4-FFF2-40B4-BE49-F238E27FC236}">
                  <a16:creationId xmlns:a16="http://schemas.microsoft.com/office/drawing/2014/main" id="{FE3E1F9D-5EA1-078B-D7A4-9969B02EEB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3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9" y="5696776"/>
              <a:ext cx="2087581" cy="116122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9DF3AF-C106-5B61-6BCA-CB74545D46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14545B-E5AF-4AA8-993C-DDFCDB514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DE4C2-D54D-4349-BBAE-F87C890BD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480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AEE530-C61E-661F-D28D-9B7EB05C3A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92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EE530-C61E-661F-D28D-9B7EB05C3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1F9944E7-A930-ECB2-5035-3A9C31949B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36352" y="3721873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7A6339C-C931-6EC6-9BFC-8677FE70A3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7019" y="3286722"/>
            <a:ext cx="2392955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D5A27E1A-3700-99DB-9408-81B4D03DA2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01740" y="3286722"/>
            <a:ext cx="2266346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318E3AC8-BC66-0FE3-86A6-255CA595E64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29678" y="3286722"/>
            <a:ext cx="2407024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760EB73-B8EB-9BFC-2E08-7F4D2180F1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695" y="3721873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F9A934A-FB6F-107A-A313-D7645548DAC3}"/>
              </a:ext>
            </a:extLst>
          </p:cNvPr>
          <p:cNvGrpSpPr/>
          <p:nvPr userDrawn="1"/>
        </p:nvGrpSpPr>
        <p:grpSpPr>
          <a:xfrm>
            <a:off x="10104418" y="5696776"/>
            <a:ext cx="2087696" cy="1400805"/>
            <a:chOff x="10104418" y="5696776"/>
            <a:chExt cx="2087696" cy="1400805"/>
          </a:xfrm>
        </p:grpSpPr>
        <p:pic>
          <p:nvPicPr>
            <p:cNvPr id="9" name="Picture 8" descr="Background pattern&#10;&#10;Description automatically generated">
              <a:extLst>
                <a:ext uri="{FF2B5EF4-FFF2-40B4-BE49-F238E27FC236}">
                  <a16:creationId xmlns:a16="http://schemas.microsoft.com/office/drawing/2014/main" id="{FE3E1F9D-5EA1-078B-D7A4-9969B02EEB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696" cy="116128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9DF3AF-C106-5B61-6BCA-CB74545D46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14545B-E5AF-4AA8-993C-DDFCDB514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DE4C2-D54D-4349-BBAE-F87C890BD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5AFDD7-FC71-B46C-3F26-606EF96013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2482" y="3721873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450574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-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F7F09AE-C816-2132-66B1-EB574F8E3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85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7F09AE-C816-2132-66B1-EB574F8E3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1F9944E7-A930-ECB2-5035-3A9C31949B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55857" y="4579445"/>
            <a:ext cx="2429439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7A6339C-C931-6EC6-9BFC-8677FE70A3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91501" y="4144294"/>
            <a:ext cx="2392955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D5A27E1A-3700-99DB-9408-81B4D03DA2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627687" y="4144294"/>
            <a:ext cx="2266346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318E3AC8-BC66-0FE3-86A6-255CA595E64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49183" y="4144294"/>
            <a:ext cx="2407024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760EB73-B8EB-9BFC-2E08-7F4D2180F1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98177" y="4579445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F9A934A-FB6F-107A-A313-D7645548DAC3}"/>
              </a:ext>
            </a:extLst>
          </p:cNvPr>
          <p:cNvGrpSpPr/>
          <p:nvPr userDrawn="1"/>
        </p:nvGrpSpPr>
        <p:grpSpPr>
          <a:xfrm>
            <a:off x="10104418" y="5696776"/>
            <a:ext cx="2087696" cy="1400805"/>
            <a:chOff x="10104418" y="5696776"/>
            <a:chExt cx="2087696" cy="1400805"/>
          </a:xfrm>
        </p:grpSpPr>
        <p:pic>
          <p:nvPicPr>
            <p:cNvPr id="9" name="Picture 8" descr="Background pattern&#10;&#10;Description automatically generated">
              <a:extLst>
                <a:ext uri="{FF2B5EF4-FFF2-40B4-BE49-F238E27FC236}">
                  <a16:creationId xmlns:a16="http://schemas.microsoft.com/office/drawing/2014/main" id="{FE3E1F9D-5EA1-078B-D7A4-9969B02EEB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696" cy="116128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9DF3AF-C106-5B61-6BCA-CB74545D46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alphaModFix amt="7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1400805" cy="140080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14545B-E5AF-4AA8-993C-DDFCDB514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DE4C2-D54D-4349-BBAE-F87C890BD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5AFDD7-FC71-B46C-3F26-606EF96013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48429" y="4579445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D912B68E-D1F7-1D24-48E1-9A06569950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55857" y="2202005"/>
            <a:ext cx="2429439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1B59ECF8-D3B8-DBB7-1D38-04BFBDE1A1A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591501" y="1766854"/>
            <a:ext cx="2392955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659B1EE3-8EF7-BD0C-39F3-1340838B0D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627687" y="1766854"/>
            <a:ext cx="2266346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25EB0D61-60A0-7D69-ABD6-779EA84A4DD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549183" y="1766854"/>
            <a:ext cx="2407024" cy="424747"/>
          </a:xfrm>
        </p:spPr>
        <p:txBody>
          <a:bodyPr/>
          <a:lstStyle>
            <a:lvl1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1pPr>
            <a:lvl2pPr rtl="0">
              <a:lnSpc>
                <a:spcPts val="1400"/>
              </a:lnSpc>
              <a:defRPr sz="1400" b="1" i="0" cap="all" baseline="0">
                <a:solidFill>
                  <a:schemeClr val="tx1"/>
                </a:solidFill>
                <a:latin typeface="Poppins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56DB786-859C-2C30-A096-883F890EF4D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598177" y="2202005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112680D0-B369-5087-2D75-BBF0C5677E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48429" y="2202005"/>
            <a:ext cx="2915038" cy="1787687"/>
          </a:xfrm>
        </p:spPr>
        <p:txBody>
          <a:bodyPr/>
          <a:lstStyle>
            <a:lvl1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 rtl="0">
              <a:buClr>
                <a:schemeClr val="tx2"/>
              </a:buClr>
              <a:buFont typeface="Arial" panose="020B0604020202020204" pitchFamily="34" charset="0"/>
              <a:buChar char="•"/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Clr>
                <a:schemeClr val="tx2"/>
              </a:buClr>
              <a:defRPr sz="11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75699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Card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FC68E4-7FA7-AE88-1E87-7C0ED22AAF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82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FC68E4-7FA7-AE88-1E87-7C0ED22AA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34697CF0-52A2-92B0-EFD4-28A0FA5BE590}"/>
              </a:ext>
            </a:extLst>
          </p:cNvPr>
          <p:cNvSpPr/>
          <p:nvPr/>
        </p:nvSpPr>
        <p:spPr>
          <a:xfrm>
            <a:off x="5544032" y="-1016476"/>
            <a:ext cx="8890952" cy="8890952"/>
          </a:xfrm>
          <a:prstGeom prst="ellipse">
            <a:avLst/>
          </a:prstGeom>
          <a:noFill/>
          <a:ln w="50800">
            <a:solidFill>
              <a:schemeClr val="bg2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5097523" cy="81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647000"/>
            <a:ext cx="4114800" cy="3564000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230188" indent="-230188" rtl="0">
              <a:buClr>
                <a:schemeClr val="bg1"/>
              </a:buClr>
              <a:tabLst/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001C-1224-4A4E-B9D2-F2723FC1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98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Card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EC627C-4B08-A305-8075-7F244F5067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7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EC627C-4B08-A305-8075-7F244F5067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34697CF0-52A2-92B0-EFD4-28A0FA5BE590}"/>
              </a:ext>
            </a:extLst>
          </p:cNvPr>
          <p:cNvSpPr/>
          <p:nvPr/>
        </p:nvSpPr>
        <p:spPr>
          <a:xfrm>
            <a:off x="5544033" y="-1016476"/>
            <a:ext cx="8890952" cy="8890952"/>
          </a:xfrm>
          <a:prstGeom prst="ellipse">
            <a:avLst/>
          </a:prstGeom>
          <a:noFill/>
          <a:ln w="50800">
            <a:solidFill>
              <a:schemeClr val="bg2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5097523" cy="81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647000"/>
            <a:ext cx="4114800" cy="3564000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230188" indent="-230188" rtl="0">
              <a:buClr>
                <a:schemeClr val="bg1"/>
              </a:buClr>
              <a:tabLst/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9B2D8F91-24D8-DE22-09C2-DD6E067DE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2572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Card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AC19DC3-45DD-A289-AFE9-696C90F2F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510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C19DC3-45DD-A289-AFE9-696C90F2F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34697CF0-52A2-92B0-EFD4-28A0FA5BE590}"/>
              </a:ext>
            </a:extLst>
          </p:cNvPr>
          <p:cNvSpPr/>
          <p:nvPr/>
        </p:nvSpPr>
        <p:spPr>
          <a:xfrm>
            <a:off x="5544033" y="-1016476"/>
            <a:ext cx="8890952" cy="8890952"/>
          </a:xfrm>
          <a:prstGeom prst="ellipse">
            <a:avLst/>
          </a:prstGeom>
          <a:noFill/>
          <a:ln w="50800">
            <a:solidFill>
              <a:schemeClr val="bg2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F9E2C-57B8-47F2-9E17-B8A54AA65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5097523" cy="81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647000"/>
            <a:ext cx="4114800" cy="3564000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230188" indent="-230188" rtl="0">
              <a:buClr>
                <a:schemeClr val="bg1"/>
              </a:buClr>
              <a:tabLst/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001C-1224-4A4E-B9D2-F2723FC1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AF76A76-31A5-7319-E0FE-06D093EB8DAD}"/>
              </a:ext>
            </a:extLst>
          </p:cNvPr>
          <p:cNvSpPr txBox="1">
            <a:spLocks/>
          </p:cNvSpPr>
          <p:nvPr userDrawn="1"/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DF1F962-6FCF-4ED9-AB1A-FC8E17859AF0}" type="slidenum">
              <a:rPr lang="en-US" smtClean="0"/>
              <a:pPr rt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5583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ard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22FE203-35B8-0610-4416-6A0D0AAF9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2717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2FE203-35B8-0610-4416-6A0D0AAF9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1F6D41B-1F2F-5546-8DDC-F17E8CEAA688}"/>
              </a:ext>
            </a:extLst>
          </p:cNvPr>
          <p:cNvSpPr/>
          <p:nvPr userDrawn="1"/>
        </p:nvSpPr>
        <p:spPr>
          <a:xfrm>
            <a:off x="0" y="1032933"/>
            <a:ext cx="12192000" cy="355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388533"/>
            <a:ext cx="4114800" cy="3516158"/>
          </a:xfrm>
        </p:spPr>
        <p:txBody>
          <a:bodyPr anchor="ctr"/>
          <a:lstStyle>
            <a:lvl1pPr rtl="0">
              <a:defRPr sz="2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F5E4A8-740F-E9EB-D094-49046DE82893}"/>
              </a:ext>
            </a:extLst>
          </p:cNvPr>
          <p:cNvSpPr/>
          <p:nvPr userDrawn="1"/>
        </p:nvSpPr>
        <p:spPr>
          <a:xfrm>
            <a:off x="5544033" y="-1016476"/>
            <a:ext cx="8890952" cy="8890952"/>
          </a:xfrm>
          <a:prstGeom prst="ellipse">
            <a:avLst/>
          </a:prstGeom>
          <a:noFill/>
          <a:ln w="50800">
            <a:solidFill>
              <a:schemeClr val="bg2">
                <a:alpha val="2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6AC748BF-FA8B-AF92-B274-A0D3D9A2B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0405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2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8400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ar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449CF3C-97EB-B835-2954-B46C4F03C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57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49CF3C-97EB-B835-2954-B46C4F03C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E8B10-AA94-4981-868A-D1017DC3E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00" y="1388533"/>
            <a:ext cx="4114800" cy="3516158"/>
          </a:xfrm>
        </p:spPr>
        <p:txBody>
          <a:bodyPr anchor="ctr"/>
          <a:lstStyle>
            <a:lvl1pPr rtl="0">
              <a:defRPr sz="2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F5E4A8-740F-E9EB-D094-49046DE82893}"/>
              </a:ext>
            </a:extLst>
          </p:cNvPr>
          <p:cNvSpPr/>
          <p:nvPr userDrawn="1"/>
        </p:nvSpPr>
        <p:spPr>
          <a:xfrm>
            <a:off x="5544033" y="-1016476"/>
            <a:ext cx="8890952" cy="8890952"/>
          </a:xfrm>
          <a:prstGeom prst="ellipse">
            <a:avLst/>
          </a:prstGeom>
          <a:noFill/>
          <a:ln w="50800">
            <a:solidFill>
              <a:schemeClr val="bg2">
                <a:alpha val="2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5B22AD2-481A-CC45-475A-475E70EC8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7640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18BA360-8C69-1CEC-B71B-1AE230CC0C32}"/>
              </a:ext>
            </a:extLst>
          </p:cNvPr>
          <p:cNvSpPr txBox="1">
            <a:spLocks/>
          </p:cNvSpPr>
          <p:nvPr userDrawn="1"/>
        </p:nvSpPr>
        <p:spPr>
          <a:xfrm>
            <a:off x="9057640" y="6452004"/>
            <a:ext cx="2743200" cy="2376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DF1F962-6FCF-4ED9-AB1A-FC8E17859AF0}" type="slidenum">
              <a:rPr lang="en-US" smtClean="0">
                <a:solidFill>
                  <a:schemeClr val="bg1"/>
                </a:solidFill>
              </a:rPr>
              <a:pPr rt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D51975A-06A5-0EBF-2400-F329D8714110}"/>
              </a:ext>
            </a:extLst>
          </p:cNvPr>
          <p:cNvSpPr/>
          <p:nvPr userDrawn="1"/>
        </p:nvSpPr>
        <p:spPr>
          <a:xfrm>
            <a:off x="5544032" y="-1016476"/>
            <a:ext cx="8890952" cy="8890952"/>
          </a:xfrm>
          <a:prstGeom prst="ellipse">
            <a:avLst/>
          </a:prstGeom>
          <a:noFill/>
          <a:ln w="50800">
            <a:solidFill>
              <a:schemeClr val="accent4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9565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686DF57-961C-ED33-4A5F-C16534F7E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2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86DF57-961C-ED33-4A5F-C16534F7E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6D9E3A-43C6-864D-AEA2-E993182AE3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11096"/>
            <a:ext cx="5876925" cy="259637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1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2</a:t>
            </a:r>
            <a:r>
              <a:rPr lang="en-US" sz="1800"/>
              <a:t> 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4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5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6</a:t>
            </a:r>
            <a:r>
              <a:rPr lang="en-US" sz="180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Content Title goes here </a:t>
            </a:r>
            <a:r>
              <a:rPr lang="en-US"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07</a:t>
            </a:r>
            <a:r>
              <a:rPr lang="en-US" sz="1800"/>
              <a:t> 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 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 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/>
              <a:t> </a:t>
            </a:r>
            <a:endParaRPr lang="en-US"/>
          </a:p>
          <a:p>
            <a:pPr lvl="0"/>
            <a:r>
              <a:rPr lang="en-US" sz="1800"/>
              <a:t> 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5AF1AD-6934-704C-B8C8-1C78FE7535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52"/>
            <a:ext cx="5876925" cy="596296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3200" b="1" i="0">
                <a:solidFill>
                  <a:srgbClr val="1FA29C"/>
                </a:solidFill>
                <a:latin typeface="Poppins" pitchFamily="2" charset="77"/>
                <a:ea typeface="Verdana" panose="020B0604030504040204" pitchFamily="34" charset="0"/>
                <a:cs typeface="Poppins" pitchFamily="2" charset="77"/>
              </a:defRPr>
            </a:lvl1pPr>
            <a:lvl2pPr marL="457200" indent="0" rtl="0">
              <a:buNone/>
              <a:defRPr sz="3200"/>
            </a:lvl2pPr>
          </a:lstStyle>
          <a:p>
            <a:pPr lvl="0"/>
            <a:r>
              <a:rPr lang="en-US"/>
              <a:t>Table of Contents</a:t>
            </a:r>
          </a:p>
          <a:p>
            <a:pPr lvl="1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3612A1-E237-5848-AAB2-6E604FB5D8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51766" y="0"/>
            <a:ext cx="2540234" cy="2533872"/>
          </a:xfrm>
          <a:prstGeom prst="rect">
            <a:avLst/>
          </a:prstGeom>
        </p:spPr>
      </p:pic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AE22A41-43CD-F79B-44B5-0CEF8EEF19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7" b="16776"/>
          <a:stretch/>
        </p:blipFill>
        <p:spPr>
          <a:xfrm>
            <a:off x="8901953" y="5027900"/>
            <a:ext cx="3290047" cy="1830100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D7AC2DD-4E51-D46A-6558-C0894B7EA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7640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11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B42B3BA-84AA-C404-67BC-517F54950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8297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2B3BA-84AA-C404-67BC-517F54950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EEFFE6C-5B99-3041-808E-2A357222C9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7DA80-60B6-7D46-953A-F0D89EDE5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2080875"/>
            <a:ext cx="4805702" cy="81000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39C36E-79C9-4744-9CB8-FE9282654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6285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Dark-Green_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8F43016-5B58-2B40-9B4B-FDB4F6C5D3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47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43016-5B58-2B40-9B4B-FDB4F6C5D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F33F09-ECDC-6C9D-B9F6-493C291BDE67}"/>
              </a:ext>
            </a:extLst>
          </p:cNvPr>
          <p:cNvGrpSpPr/>
          <p:nvPr userDrawn="1"/>
        </p:nvGrpSpPr>
        <p:grpSpPr>
          <a:xfrm>
            <a:off x="9533965" y="5370262"/>
            <a:ext cx="2658035" cy="1772022"/>
            <a:chOff x="10104418" y="5696776"/>
            <a:chExt cx="2087582" cy="1391720"/>
          </a:xfrm>
        </p:grpSpPr>
        <p:pic>
          <p:nvPicPr>
            <p:cNvPr id="20" name="Picture 19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66E9C7A1-034F-3243-AF0E-061BF2407B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21" name="Picture 20" descr="Background pattern&#10;&#10;Description automatically generated">
              <a:extLst>
                <a:ext uri="{FF2B5EF4-FFF2-40B4-BE49-F238E27FC236}">
                  <a16:creationId xmlns:a16="http://schemas.microsoft.com/office/drawing/2014/main" id="{17EA201D-4E64-7CB8-11D8-EBE2BCFC6F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A1C1D82-2A77-C4CD-BD8F-2474DC2960C0}"/>
              </a:ext>
            </a:extLst>
          </p:cNvPr>
          <p:cNvSpPr txBox="1"/>
          <p:nvPr userDrawn="1"/>
        </p:nvSpPr>
        <p:spPr>
          <a:xfrm>
            <a:off x="467360" y="3839100"/>
            <a:ext cx="811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rPr>
              <a:t>www.globalfinancingfacility.org                  gffsecretariat@worldbank.org                @thegff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6EC0533-6DCD-58B7-918D-73DCFEBD59D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2754" y="3900799"/>
            <a:ext cx="200973" cy="16347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F145208-5DD9-5C75-F86B-62414FB83C57}"/>
              </a:ext>
            </a:extLst>
          </p:cNvPr>
          <p:cNvCxnSpPr>
            <a:cxnSpLocks/>
          </p:cNvCxnSpPr>
          <p:nvPr userDrawn="1"/>
        </p:nvCxnSpPr>
        <p:spPr>
          <a:xfrm>
            <a:off x="3138255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906C693-22E5-BBF9-6656-FCAB887DB7A5}"/>
              </a:ext>
            </a:extLst>
          </p:cNvPr>
          <p:cNvCxnSpPr>
            <a:cxnSpLocks/>
          </p:cNvCxnSpPr>
          <p:nvPr userDrawn="1"/>
        </p:nvCxnSpPr>
        <p:spPr>
          <a:xfrm>
            <a:off x="6104868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26" descr="Icon&#10;&#10;Description automatically generated">
            <a:extLst>
              <a:ext uri="{FF2B5EF4-FFF2-40B4-BE49-F238E27FC236}">
                <a16:creationId xmlns:a16="http://schemas.microsoft.com/office/drawing/2014/main" id="{EE7EBB53-5DFB-FD10-5B55-A7A49B74646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6505" y="3900799"/>
            <a:ext cx="228660" cy="16088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9415CF6-EC1E-28F3-A90E-17280C89772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" y="2744910"/>
            <a:ext cx="6887811" cy="773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6374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Teal__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BE5D9-BCAC-6FC6-D730-F4B0777C81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07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BE5D9-BCAC-6FC6-D730-F4B0777C8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CB2D8D-DCE8-9EF3-8515-DACC2DCB69BD}"/>
              </a:ext>
            </a:extLst>
          </p:cNvPr>
          <p:cNvSpPr txBox="1"/>
          <p:nvPr userDrawn="1"/>
        </p:nvSpPr>
        <p:spPr>
          <a:xfrm>
            <a:off x="467360" y="3839100"/>
            <a:ext cx="811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rPr>
              <a:t>www.globalfinancingfacility.org                  gffsecretariat@worldbank.org                @thegff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D45DF40-D1B1-C5E6-35C3-5E0A5CCE03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2754" y="3900799"/>
            <a:ext cx="200973" cy="16347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140ED07-323D-22A0-266F-1FED7C1BE3FD}"/>
              </a:ext>
            </a:extLst>
          </p:cNvPr>
          <p:cNvCxnSpPr>
            <a:cxnSpLocks/>
          </p:cNvCxnSpPr>
          <p:nvPr userDrawn="1"/>
        </p:nvCxnSpPr>
        <p:spPr>
          <a:xfrm>
            <a:off x="3138255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D71D61-BBE2-6CE7-5685-980DB2513D3C}"/>
              </a:ext>
            </a:extLst>
          </p:cNvPr>
          <p:cNvCxnSpPr>
            <a:cxnSpLocks/>
          </p:cNvCxnSpPr>
          <p:nvPr userDrawn="1"/>
        </p:nvCxnSpPr>
        <p:spPr>
          <a:xfrm>
            <a:off x="6104868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9DA8D9CA-2161-BC86-912B-DF008FC4D7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" y="2744910"/>
            <a:ext cx="6887811" cy="77391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B7973FD9-81E8-1E36-586F-46F0695FF298}"/>
              </a:ext>
            </a:extLst>
          </p:cNvPr>
          <p:cNvGrpSpPr/>
          <p:nvPr userDrawn="1"/>
        </p:nvGrpSpPr>
        <p:grpSpPr>
          <a:xfrm>
            <a:off x="9533965" y="5370262"/>
            <a:ext cx="2658035" cy="1772022"/>
            <a:chOff x="10104418" y="5696776"/>
            <a:chExt cx="2087582" cy="1391720"/>
          </a:xfrm>
        </p:grpSpPr>
        <p:pic>
          <p:nvPicPr>
            <p:cNvPr id="24" name="Picture 23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F2141805-DB82-2822-D4F6-73247395EC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25" name="Picture 24" descr="Background pattern&#10;&#10;Description automatically generated">
              <a:extLst>
                <a:ext uri="{FF2B5EF4-FFF2-40B4-BE49-F238E27FC236}">
                  <a16:creationId xmlns:a16="http://schemas.microsoft.com/office/drawing/2014/main" id="{30E0D3B6-D7D0-17F6-2372-700A0BE311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hqprint">
              <a:alphaModFix amt="5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364F2C87-C0AF-5E6A-5B58-E39CD1190A4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6505" y="3900799"/>
            <a:ext cx="228660" cy="16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022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 Dark-Green_Fren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8F8EBB-99B6-22E6-61D0-87D5F2A01D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79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8F8EBB-99B6-22E6-61D0-87D5F2A01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F33F09-ECDC-6C9D-B9F6-493C291BDE67}"/>
              </a:ext>
            </a:extLst>
          </p:cNvPr>
          <p:cNvGrpSpPr/>
          <p:nvPr userDrawn="1"/>
        </p:nvGrpSpPr>
        <p:grpSpPr>
          <a:xfrm>
            <a:off x="9533965" y="5370262"/>
            <a:ext cx="2658035" cy="1772022"/>
            <a:chOff x="10104418" y="5696776"/>
            <a:chExt cx="2087582" cy="1391720"/>
          </a:xfrm>
        </p:grpSpPr>
        <p:pic>
          <p:nvPicPr>
            <p:cNvPr id="20" name="Picture 19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66E9C7A1-034F-3243-AF0E-061BF2407B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21" name="Picture 20" descr="Background pattern&#10;&#10;Description automatically generated">
              <a:extLst>
                <a:ext uri="{FF2B5EF4-FFF2-40B4-BE49-F238E27FC236}">
                  <a16:creationId xmlns:a16="http://schemas.microsoft.com/office/drawing/2014/main" id="{17EA201D-4E64-7CB8-11D8-EBE2BCFC6F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A1C1D82-2A77-C4CD-BD8F-2474DC2960C0}"/>
              </a:ext>
            </a:extLst>
          </p:cNvPr>
          <p:cNvSpPr txBox="1"/>
          <p:nvPr userDrawn="1"/>
        </p:nvSpPr>
        <p:spPr>
          <a:xfrm>
            <a:off x="467360" y="3839100"/>
            <a:ext cx="811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rPr>
              <a:t>www.globalfinancingfacility.org/fr	           gffsecretariat@worldbank.org                @thegff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6EC0533-6DCD-58B7-918D-73DCFEBD59D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8956" y="3900799"/>
            <a:ext cx="200973" cy="16347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F145208-5DD9-5C75-F86B-62414FB83C57}"/>
              </a:ext>
            </a:extLst>
          </p:cNvPr>
          <p:cNvCxnSpPr>
            <a:cxnSpLocks/>
          </p:cNvCxnSpPr>
          <p:nvPr userDrawn="1"/>
        </p:nvCxnSpPr>
        <p:spPr>
          <a:xfrm>
            <a:off x="3236229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906C693-22E5-BBF9-6656-FCAB887DB7A5}"/>
              </a:ext>
            </a:extLst>
          </p:cNvPr>
          <p:cNvCxnSpPr>
            <a:cxnSpLocks/>
          </p:cNvCxnSpPr>
          <p:nvPr userDrawn="1"/>
        </p:nvCxnSpPr>
        <p:spPr>
          <a:xfrm>
            <a:off x="6181070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26" descr="Icon&#10;&#10;Description automatically generated">
            <a:extLst>
              <a:ext uri="{FF2B5EF4-FFF2-40B4-BE49-F238E27FC236}">
                <a16:creationId xmlns:a16="http://schemas.microsoft.com/office/drawing/2014/main" id="{EE7EBB53-5DFB-FD10-5B55-A7A49B74646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6458" y="3900799"/>
            <a:ext cx="228660" cy="1608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8532F9-E075-38AD-53D7-72BA9BE4643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67360" y="2766131"/>
            <a:ext cx="81661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900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 Teal_Fren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583A183-9A70-216C-FF8A-D7E455EB1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95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83A183-9A70-216C-FF8A-D7E455EB1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7A7FE4B-9D34-AB41-99DD-D88D90D0B5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F33F09-ECDC-6C9D-B9F6-493C291BDE67}"/>
              </a:ext>
            </a:extLst>
          </p:cNvPr>
          <p:cNvGrpSpPr/>
          <p:nvPr userDrawn="1"/>
        </p:nvGrpSpPr>
        <p:grpSpPr>
          <a:xfrm>
            <a:off x="9533965" y="5370262"/>
            <a:ext cx="2658035" cy="1772022"/>
            <a:chOff x="10104418" y="5696776"/>
            <a:chExt cx="2087582" cy="1391720"/>
          </a:xfrm>
        </p:grpSpPr>
        <p:pic>
          <p:nvPicPr>
            <p:cNvPr id="20" name="Picture 19" descr="A picture containing fan, device, vector graphics&#10;&#10;Description automatically generated">
              <a:extLst>
                <a:ext uri="{FF2B5EF4-FFF2-40B4-BE49-F238E27FC236}">
                  <a16:creationId xmlns:a16="http://schemas.microsoft.com/office/drawing/2014/main" id="{66E9C7A1-034F-3243-AF0E-061BF2407B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alphaModFix am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4419" y="5696776"/>
              <a:ext cx="2087581" cy="1391720"/>
            </a:xfrm>
            <a:prstGeom prst="rect">
              <a:avLst/>
            </a:prstGeom>
          </p:spPr>
        </p:pic>
        <p:pic>
          <p:nvPicPr>
            <p:cNvPr id="21" name="Picture 20" descr="Background pattern&#10;&#10;Description automatically generated">
              <a:extLst>
                <a:ext uri="{FF2B5EF4-FFF2-40B4-BE49-F238E27FC236}">
                  <a16:creationId xmlns:a16="http://schemas.microsoft.com/office/drawing/2014/main" id="{17EA201D-4E64-7CB8-11D8-EBE2BCFC6F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7" b="16776"/>
            <a:stretch/>
          </p:blipFill>
          <p:spPr>
            <a:xfrm>
              <a:off x="10104418" y="5696776"/>
              <a:ext cx="2087581" cy="1161224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A1C1D82-2A77-C4CD-BD8F-2474DC2960C0}"/>
              </a:ext>
            </a:extLst>
          </p:cNvPr>
          <p:cNvSpPr txBox="1"/>
          <p:nvPr userDrawn="1"/>
        </p:nvSpPr>
        <p:spPr>
          <a:xfrm>
            <a:off x="467360" y="3839100"/>
            <a:ext cx="811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rPr>
              <a:t>www.globalfinancingfacility.org/fr	           gffsecretariat@worldbank.org                @thegff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6EC0533-6DCD-58B7-918D-73DCFEBD59D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936" y="3900799"/>
            <a:ext cx="200973" cy="16347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F145208-5DD9-5C75-F86B-62414FB83C57}"/>
              </a:ext>
            </a:extLst>
          </p:cNvPr>
          <p:cNvCxnSpPr>
            <a:cxnSpLocks/>
          </p:cNvCxnSpPr>
          <p:nvPr userDrawn="1"/>
        </p:nvCxnSpPr>
        <p:spPr>
          <a:xfrm>
            <a:off x="3236229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906C693-22E5-BBF9-6656-FCAB887DB7A5}"/>
              </a:ext>
            </a:extLst>
          </p:cNvPr>
          <p:cNvCxnSpPr>
            <a:cxnSpLocks/>
          </p:cNvCxnSpPr>
          <p:nvPr userDrawn="1"/>
        </p:nvCxnSpPr>
        <p:spPr>
          <a:xfrm>
            <a:off x="6181070" y="3834987"/>
            <a:ext cx="0" cy="2816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26" descr="Icon&#10;&#10;Description automatically generated">
            <a:extLst>
              <a:ext uri="{FF2B5EF4-FFF2-40B4-BE49-F238E27FC236}">
                <a16:creationId xmlns:a16="http://schemas.microsoft.com/office/drawing/2014/main" id="{EE7EBB53-5DFB-FD10-5B55-A7A49B74646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6458" y="3900799"/>
            <a:ext cx="228660" cy="1608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8532F9-E075-38AD-53D7-72BA9BE4643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67360" y="2766131"/>
            <a:ext cx="81661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067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3613D7-973B-D937-7FD7-882BD4E09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955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3613D7-973B-D937-7FD7-882BD4E09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9AA12-58EE-42C8-A01C-871D4E0BC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8485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5A5A1A-326A-C480-52C0-49313A7B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64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5A5A1A-326A-C480-52C0-49313A7B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6269C2B6-AEC5-4A9E-A623-DB2AB28799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18" y="0"/>
            <a:ext cx="1217856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E1A94B-4034-4C4D-9FCA-E56E4BB6C6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4000" y="3070800"/>
            <a:ext cx="6134400" cy="1968560"/>
          </a:xfrm>
        </p:spPr>
        <p:txBody>
          <a:bodyPr vert="horz" tIns="216000" anchor="t" anchorCtr="0"/>
          <a:lstStyle>
            <a:lvl1pPr algn="l" rtl="0">
              <a:lnSpc>
                <a:spcPct val="85000"/>
              </a:lnSpc>
              <a:defRPr sz="6370" spc="-7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0FC425-E40C-4A3F-A382-DDE12B2DEC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4000" y="5317200"/>
            <a:ext cx="6134400" cy="595920"/>
          </a:xfrm>
        </p:spPr>
        <p:txBody>
          <a:bodyPr/>
          <a:lstStyle>
            <a:lvl1pPr marL="0" indent="0" algn="l" rtl="0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C6F22-906A-45E2-8345-B155D5F8A0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4000" y="6139520"/>
            <a:ext cx="6134400" cy="365125"/>
          </a:xfrm>
        </p:spPr>
        <p:txBody>
          <a:bodyPr lIns="0" tIns="64800" rIns="0" bIns="0"/>
          <a:lstStyle>
            <a:lvl1pPr rtl="0">
              <a:defRPr sz="1820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58D5D46-DBC1-441A-BE7A-91DEE33178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6400" y="404813"/>
            <a:ext cx="1760400" cy="5292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3BBE5E11-C60C-4B6B-B9AA-F0242AAFD1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0000" y="404813"/>
            <a:ext cx="2725200" cy="5292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2FECAA43-16A9-483C-B14F-39D1BCED96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0971" y="-262868"/>
            <a:ext cx="5236089" cy="5703614"/>
          </a:xfrm>
          <a:custGeom>
            <a:avLst/>
            <a:gdLst>
              <a:gd name="connsiteX0" fmla="*/ 1312167 w 5236089"/>
              <a:gd name="connsiteY0" fmla="*/ 0 h 5703614"/>
              <a:gd name="connsiteX1" fmla="*/ 5236089 w 5236089"/>
              <a:gd name="connsiteY1" fmla="*/ 0 h 5703614"/>
              <a:gd name="connsiteX2" fmla="*/ 5236089 w 5236089"/>
              <a:gd name="connsiteY2" fmla="*/ 4390173 h 5703614"/>
              <a:gd name="connsiteX3" fmla="*/ 3923921 w 5236089"/>
              <a:gd name="connsiteY3" fmla="*/ 5703614 h 5703614"/>
              <a:gd name="connsiteX4" fmla="*/ 0 w 5236089"/>
              <a:gd name="connsiteY4" fmla="*/ 5703614 h 5703614"/>
              <a:gd name="connsiteX5" fmla="*/ 0 w 5236089"/>
              <a:gd name="connsiteY5" fmla="*/ 1313446 h 5703614"/>
              <a:gd name="connsiteX6" fmla="*/ 1312167 w 5236089"/>
              <a:gd name="connsiteY6" fmla="*/ 0 h 570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36089" h="5703614">
                <a:moveTo>
                  <a:pt x="1312167" y="0"/>
                </a:moveTo>
                <a:lnTo>
                  <a:pt x="5236089" y="0"/>
                </a:lnTo>
                <a:lnTo>
                  <a:pt x="5236089" y="4390173"/>
                </a:lnTo>
                <a:cubicBezTo>
                  <a:pt x="5236089" y="5115562"/>
                  <a:pt x="4648607" y="5703603"/>
                  <a:pt x="3923921" y="5703614"/>
                </a:cubicBezTo>
                <a:lnTo>
                  <a:pt x="0" y="5703614"/>
                </a:lnTo>
                <a:lnTo>
                  <a:pt x="0" y="1313446"/>
                </a:lnTo>
                <a:cubicBezTo>
                  <a:pt x="0" y="588045"/>
                  <a:pt x="587481" y="4"/>
                  <a:pt x="1312167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701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091340C-CC6E-C318-251E-A61E30ED0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122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1340C-CC6E-C318-251E-A61E30ED0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FC8E71-2277-D4BF-0030-3CFD44D80FB4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795600" y="-5679"/>
            <a:ext cx="5396400" cy="6858000"/>
          </a:xfrm>
          <a:custGeom>
            <a:avLst/>
            <a:gdLst>
              <a:gd name="connsiteX0" fmla="*/ 1970237 w 5396400"/>
              <a:gd name="connsiteY0" fmla="*/ 0 h 6858000"/>
              <a:gd name="connsiteX1" fmla="*/ 5396400 w 5396400"/>
              <a:gd name="connsiteY1" fmla="*/ 0 h 6858000"/>
              <a:gd name="connsiteX2" fmla="*/ 5396400 w 5396400"/>
              <a:gd name="connsiteY2" fmla="*/ 6836948 h 6858000"/>
              <a:gd name="connsiteX3" fmla="*/ 5348271 w 5396400"/>
              <a:gd name="connsiteY3" fmla="*/ 6858000 h 6858000"/>
              <a:gd name="connsiteX4" fmla="*/ 2302830 w 5396400"/>
              <a:gd name="connsiteY4" fmla="*/ 6858000 h 6858000"/>
              <a:gd name="connsiteX5" fmla="*/ 2168296 w 5396400"/>
              <a:gd name="connsiteY5" fmla="*/ 6797179 h 6858000"/>
              <a:gd name="connsiteX6" fmla="*/ 0 w 5396400"/>
              <a:gd name="connsiteY6" fmla="*/ 3346833 h 6858000"/>
              <a:gd name="connsiteX7" fmla="*/ 1842951 w 5396400"/>
              <a:gd name="connsiteY7" fmla="*/ 731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6400" h="6858000">
                <a:moveTo>
                  <a:pt x="1970237" y="0"/>
                </a:moveTo>
                <a:lnTo>
                  <a:pt x="5396400" y="0"/>
                </a:lnTo>
                <a:lnTo>
                  <a:pt x="5396400" y="6836948"/>
                </a:lnTo>
                <a:lnTo>
                  <a:pt x="5348271" y="6858000"/>
                </a:lnTo>
                <a:lnTo>
                  <a:pt x="2302830" y="6858000"/>
                </a:lnTo>
                <a:lnTo>
                  <a:pt x="2168296" y="6797179"/>
                </a:lnTo>
                <a:cubicBezTo>
                  <a:pt x="885336" y="6178985"/>
                  <a:pt x="0" y="4866299"/>
                  <a:pt x="0" y="3346833"/>
                </a:cubicBezTo>
                <a:cubicBezTo>
                  <a:pt x="0" y="1959494"/>
                  <a:pt x="738059" y="744537"/>
                  <a:pt x="1842951" y="731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1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1CE82F-9F15-87CE-7215-64D1DB3C2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8600" y="4088656"/>
            <a:ext cx="5867400" cy="1655762"/>
          </a:xfrm>
        </p:spPr>
        <p:txBody>
          <a:bodyPr>
            <a:normAutofit/>
          </a:bodyPr>
          <a:lstStyle>
            <a:lvl1pPr marL="0" indent="0" algn="ctr" rtl="0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, Title</a:t>
            </a:r>
          </a:p>
        </p:txBody>
      </p:sp>
      <p:pic>
        <p:nvPicPr>
          <p:cNvPr id="46" name="Picture 45" descr="A close up of text&#10;&#10;Description automatically generated">
            <a:extLst>
              <a:ext uri="{FF2B5EF4-FFF2-40B4-BE49-F238E27FC236}">
                <a16:creationId xmlns:a16="http://schemas.microsoft.com/office/drawing/2014/main" id="{97E5878D-CC70-A573-1DA4-716C82E3922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53" y="331135"/>
            <a:ext cx="2184692" cy="743395"/>
          </a:xfrm>
          <a:prstGeom prst="rect">
            <a:avLst/>
          </a:prstGeom>
        </p:spPr>
      </p:pic>
      <p:sp>
        <p:nvSpPr>
          <p:cNvPr id="67" name="Title 1">
            <a:extLst>
              <a:ext uri="{FF2B5EF4-FFF2-40B4-BE49-F238E27FC236}">
                <a16:creationId xmlns:a16="http://schemas.microsoft.com/office/drawing/2014/main" id="{73C7C0E5-2063-681B-712F-16D0C924D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8600" y="1541444"/>
            <a:ext cx="5943621" cy="2387600"/>
          </a:xfrm>
        </p:spPr>
        <p:txBody>
          <a:bodyPr vert="horz" anchor="b">
            <a:normAutofit/>
          </a:bodyPr>
          <a:lstStyle>
            <a:lvl1pPr algn="ctr" rtl="0">
              <a:defRPr sz="4800">
                <a:latin typeface="+mj-lt"/>
              </a:defRPr>
            </a:lvl1pPr>
          </a:lstStyle>
          <a:p>
            <a:r>
              <a:rPr lang="en-US" sz="4800"/>
              <a:t>PRESENTATION </a:t>
            </a:r>
            <a:br>
              <a:rPr lang="en-US" sz="4800"/>
            </a:br>
            <a:r>
              <a:rPr lang="en-US" sz="4800"/>
              <a:t>TITLE</a:t>
            </a:r>
          </a:p>
        </p:txBody>
      </p:sp>
      <p:sp>
        <p:nvSpPr>
          <p:cNvPr id="72" name="Slide Number Placeholder 71">
            <a:extLst>
              <a:ext uri="{FF2B5EF4-FFF2-40B4-BE49-F238E27FC236}">
                <a16:creationId xmlns:a16="http://schemas.microsoft.com/office/drawing/2014/main" id="{4CC3FB72-CBB9-D4A7-DDE8-F11753443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algn="l">
              <a:buClr>
                <a:srgbClr val="000000"/>
              </a:buClr>
              <a:buFont typeface="Arial"/>
              <a:buNone/>
              <a:defRPr/>
            </a:pPr>
            <a:fld id="{16DA4D8A-707C-46E3-AE54-67BE14DE1600}" type="slidenum">
              <a:rPr lang="en-US" kern="0" smtClean="0">
                <a:solidFill>
                  <a:srgbClr val="09544F"/>
                </a:solidFill>
                <a:latin typeface="Poppins Light"/>
                <a:cs typeface="Arial"/>
                <a:sym typeface="Arial"/>
              </a:rPr>
              <a:pPr algn="l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en-US" kern="0">
              <a:solidFill>
                <a:srgbClr val="09544F"/>
              </a:solidFill>
              <a:latin typeface="Poppins Light"/>
              <a:cs typeface="Arial"/>
              <a:sym typeface="Arial"/>
            </a:endParaRPr>
          </a:p>
        </p:txBody>
      </p:sp>
      <p:grpSp>
        <p:nvGrpSpPr>
          <p:cNvPr id="92" name="Editable shape">
            <a:extLst>
              <a:ext uri="{FF2B5EF4-FFF2-40B4-BE49-F238E27FC236}">
                <a16:creationId xmlns:a16="http://schemas.microsoft.com/office/drawing/2014/main" id="{4AE4D35A-B326-4C17-735A-32A3CB3A9223}"/>
              </a:ext>
            </a:extLst>
          </p:cNvPr>
          <p:cNvGrpSpPr>
            <a:grpSpLocks/>
          </p:cNvGrpSpPr>
          <p:nvPr userDrawn="1"/>
        </p:nvGrpSpPr>
        <p:grpSpPr>
          <a:xfrm>
            <a:off x="9083354" y="5096254"/>
            <a:ext cx="4342362" cy="2171181"/>
            <a:chOff x="9071016" y="5150712"/>
            <a:chExt cx="4342362" cy="217118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79930F5-5298-B90F-D045-208CBED4D53F}"/>
                </a:ext>
              </a:extLst>
            </p:cNvPr>
            <p:cNvSpPr>
              <a:spLocks/>
            </p:cNvSpPr>
            <p:nvPr/>
          </p:nvSpPr>
          <p:spPr>
            <a:xfrm rot="8480932">
              <a:off x="9071016" y="5150712"/>
              <a:ext cx="4342362" cy="2171181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BAC3157-875A-6350-C692-869CCDA00CBC}"/>
                </a:ext>
              </a:extLst>
            </p:cNvPr>
            <p:cNvSpPr>
              <a:spLocks/>
            </p:cNvSpPr>
            <p:nvPr/>
          </p:nvSpPr>
          <p:spPr>
            <a:xfrm rot="8480932">
              <a:off x="9301069" y="5306819"/>
              <a:ext cx="3991750" cy="199587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5808CBB-93C9-37F9-3DD9-EABEC4411C03}"/>
                </a:ext>
              </a:extLst>
            </p:cNvPr>
            <p:cNvSpPr>
              <a:spLocks/>
            </p:cNvSpPr>
            <p:nvPr/>
          </p:nvSpPr>
          <p:spPr>
            <a:xfrm rot="8480932">
              <a:off x="9531122" y="5462926"/>
              <a:ext cx="3641136" cy="1820567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1DA9510-CA8D-E36A-0358-B7FD58401FD9}"/>
                </a:ext>
              </a:extLst>
            </p:cNvPr>
            <p:cNvSpPr>
              <a:spLocks/>
            </p:cNvSpPr>
            <p:nvPr/>
          </p:nvSpPr>
          <p:spPr>
            <a:xfrm rot="8480932">
              <a:off x="9761174" y="5619033"/>
              <a:ext cx="3290524" cy="1645262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7B117F9-D3E1-F3B2-B451-132F9699F69A}"/>
                </a:ext>
              </a:extLst>
            </p:cNvPr>
            <p:cNvSpPr>
              <a:spLocks/>
            </p:cNvSpPr>
            <p:nvPr/>
          </p:nvSpPr>
          <p:spPr>
            <a:xfrm rot="8480932">
              <a:off x="9991003" y="5774990"/>
              <a:ext cx="2940251" cy="1470125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9E72612-12EA-7D62-C0AA-C34B32F6EEF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221057" y="5931096"/>
              <a:ext cx="2589638" cy="129481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246D83D-1396-7D8E-5CC1-6C166C878475}"/>
                </a:ext>
              </a:extLst>
            </p:cNvPr>
            <p:cNvSpPr>
              <a:spLocks/>
            </p:cNvSpPr>
            <p:nvPr/>
          </p:nvSpPr>
          <p:spPr>
            <a:xfrm rot="8480932">
              <a:off x="10451109" y="6087205"/>
              <a:ext cx="2239026" cy="1119511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C207DF9-1642-F51C-816E-9B7A77BCA26D}"/>
                </a:ext>
              </a:extLst>
            </p:cNvPr>
            <p:cNvSpPr>
              <a:spLocks/>
            </p:cNvSpPr>
            <p:nvPr/>
          </p:nvSpPr>
          <p:spPr>
            <a:xfrm rot="8480932">
              <a:off x="10681162" y="6243311"/>
              <a:ext cx="1888412" cy="944206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A3767A3C-570D-D4B3-6721-73158B526128}"/>
                </a:ext>
              </a:extLst>
            </p:cNvPr>
            <p:cNvSpPr>
              <a:spLocks/>
            </p:cNvSpPr>
            <p:nvPr/>
          </p:nvSpPr>
          <p:spPr>
            <a:xfrm rot="8480932">
              <a:off x="10911215" y="6399418"/>
              <a:ext cx="1537800" cy="768899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96E5A5-7C30-E5BD-0535-0F0BF26DE821}"/>
                </a:ext>
              </a:extLst>
            </p:cNvPr>
            <p:cNvSpPr>
              <a:spLocks/>
            </p:cNvSpPr>
            <p:nvPr/>
          </p:nvSpPr>
          <p:spPr>
            <a:xfrm rot="8480932">
              <a:off x="11141268" y="6555525"/>
              <a:ext cx="1187186" cy="593592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9BFE7BE-2DE9-D243-C056-3E0AA135FD4A}"/>
                </a:ext>
              </a:extLst>
            </p:cNvPr>
            <p:cNvSpPr>
              <a:spLocks/>
            </p:cNvSpPr>
            <p:nvPr/>
          </p:nvSpPr>
          <p:spPr>
            <a:xfrm rot="8480932">
              <a:off x="11371319" y="6711632"/>
              <a:ext cx="836574" cy="418287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E0C2D04A-7404-A44F-A152-6416D6935136}"/>
                </a:ext>
              </a:extLst>
            </p:cNvPr>
            <p:cNvSpPr>
              <a:spLocks/>
            </p:cNvSpPr>
            <p:nvPr/>
          </p:nvSpPr>
          <p:spPr>
            <a:xfrm rot="8480932">
              <a:off x="11601372" y="6867739"/>
              <a:ext cx="485960" cy="242980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0A1D64A-7FC9-7816-83F8-21D70F8F06E2}"/>
                </a:ext>
              </a:extLst>
            </p:cNvPr>
            <p:cNvSpPr>
              <a:spLocks/>
            </p:cNvSpPr>
            <p:nvPr userDrawn="1"/>
          </p:nvSpPr>
          <p:spPr>
            <a:xfrm rot="8480932">
              <a:off x="11831203" y="7023695"/>
              <a:ext cx="135687" cy="67843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23633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0F1A6C-A585-6A2B-C080-C55FF48A64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71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F1A6C-A585-6A2B-C080-C55FF48A6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aphic 10">
            <a:extLst>
              <a:ext uri="{FF2B5EF4-FFF2-40B4-BE49-F238E27FC236}">
                <a16:creationId xmlns:a16="http://schemas.microsoft.com/office/drawing/2014/main" id="{0B8FE53A-BE97-9649-F37D-BA4070CA6FDB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165C061-2544-4F23-E1D3-91A5625E2206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82C804F-B4FA-E39D-4945-6111E3282DAB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467C02D-A776-7C2E-4854-E18598E062D0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2B322C1-1D8E-BCFA-74C3-31C774E003BF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BEE1E2-22EE-413C-BF13-2F73EE8F5545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AA060AA-B82C-9037-1F84-0E826D48DA30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2678806-9603-07E9-8EFC-79B88361C87D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0D5F9F-A870-AF9B-CA64-8FB17BF67ED5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02AA79F-C158-7D47-CED3-7CEDD29F1876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CCBAF6A-93B4-743D-AE30-11B6F0EAB78E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F090FE4-834D-7E18-C770-39C6B0BBE571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474850-82EC-D26B-2ABF-C0D906AF316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350680-72E3-2C93-FC13-89D766A68E01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DC84C52-0008-950A-F030-F448D9684F12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23" name="Text Placeholder 31">
            <a:extLst>
              <a:ext uri="{FF2B5EF4-FFF2-40B4-BE49-F238E27FC236}">
                <a16:creationId xmlns:a16="http://schemas.microsoft.com/office/drawing/2014/main" id="{AE691651-16A3-CF3D-757B-2BC158F74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 rtl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49B0B463-9E92-2457-E460-904456F421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875EC4C2-B91C-45CD-B447-D099F93DF8FF}" type="datetimeFigureOut">
              <a:rPr lang="en-US" smtClean="0"/>
              <a:pPr/>
              <a:t>5/4/2025</a:t>
            </a:fld>
            <a:endParaRPr lang="en-US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2F2A0C94-7915-6181-9387-19F3AFCBE6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Footer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9392875-79B8-2694-F13F-9EF8F339FB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16DA4D8A-707C-46E3-AE54-67BE14DE16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E64391F-9437-7AF5-D9B4-3B162D9F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1" y="632654"/>
            <a:ext cx="9139563" cy="898582"/>
          </a:xfrm>
        </p:spPr>
        <p:txBody>
          <a:bodyPr vert="horz" anchor="t">
            <a:noAutofit/>
          </a:bodyPr>
          <a:lstStyle>
            <a:lvl1pPr rtl="0">
              <a:lnSpc>
                <a:spcPts val="2800"/>
              </a:lnSpc>
              <a:defRPr sz="3200"/>
            </a:lvl1pPr>
          </a:lstStyle>
          <a:p>
            <a:r>
              <a:rPr lang="en-US"/>
              <a:t>TITLE AND CONTENT</a:t>
            </a:r>
          </a:p>
        </p:txBody>
      </p:sp>
    </p:spTree>
    <p:extLst>
      <p:ext uri="{BB962C8B-B14F-4D97-AF65-F5344CB8AC3E}">
        <p14:creationId xmlns:p14="http://schemas.microsoft.com/office/powerpoint/2010/main" val="3202757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bg>
      <p:bgPr>
        <a:solidFill>
          <a:srgbClr val="0C71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425D74-AD39-307A-A206-A8A64F39A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0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425D74-AD39-307A-A206-A8A64F39A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7747EE-8AF5-F646-D2D0-C00D3619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6520110" cy="2168421"/>
          </a:xfrm>
        </p:spPr>
        <p:txBody>
          <a:bodyPr vert="horz" anchor="b">
            <a:normAutofit/>
          </a:bodyPr>
          <a:lstStyle>
            <a:lvl1pPr rtl="0">
              <a:defRPr sz="4000">
                <a:solidFill>
                  <a:srgbClr val="09544F"/>
                </a:solidFill>
              </a:defRPr>
            </a:lvl1pPr>
          </a:lstStyle>
          <a:p>
            <a:r>
              <a:rPr lang="en-US"/>
              <a:t>DIVIDER SLIDE VARIANT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B7AB32-B780-2F8F-F5F8-B3F517400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957601"/>
            <a:ext cx="6513760" cy="1500187"/>
          </a:xfrm>
        </p:spPr>
        <p:txBody>
          <a:bodyPr>
            <a:normAutofit/>
          </a:bodyPr>
          <a:lstStyle>
            <a:lvl1pPr marL="0" indent="0" rtl="0">
              <a:buNone/>
              <a:defRPr sz="2800">
                <a:solidFill>
                  <a:srgbClr val="0C716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4E0800E-C3DA-432D-F120-ABD04D85679C}"/>
              </a:ext>
            </a:extLst>
          </p:cNvPr>
          <p:cNvSpPr/>
          <p:nvPr userDrawn="1"/>
        </p:nvSpPr>
        <p:spPr>
          <a:xfrm>
            <a:off x="6491650" y="-2406"/>
            <a:ext cx="5700351" cy="4588282"/>
          </a:xfrm>
          <a:custGeom>
            <a:avLst/>
            <a:gdLst>
              <a:gd name="connsiteX0" fmla="*/ 0 w 5700351"/>
              <a:gd name="connsiteY0" fmla="*/ 0 h 4588282"/>
              <a:gd name="connsiteX1" fmla="*/ 5700351 w 5700351"/>
              <a:gd name="connsiteY1" fmla="*/ 0 h 4588282"/>
              <a:gd name="connsiteX2" fmla="*/ 5700351 w 5700351"/>
              <a:gd name="connsiteY2" fmla="*/ 4553254 h 4588282"/>
              <a:gd name="connsiteX3" fmla="*/ 5585591 w 5700351"/>
              <a:gd name="connsiteY3" fmla="*/ 4566460 h 4588282"/>
              <a:gd name="connsiteX4" fmla="*/ 5108855 w 5700351"/>
              <a:gd name="connsiteY4" fmla="*/ 4588282 h 4588282"/>
              <a:gd name="connsiteX5" fmla="*/ 29517 w 5700351"/>
              <a:gd name="connsiteY5" fmla="*/ 232286 h 4588282"/>
              <a:gd name="connsiteX6" fmla="*/ 0 w 5700351"/>
              <a:gd name="connsiteY6" fmla="*/ 0 h 458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0351" h="4588282">
                <a:moveTo>
                  <a:pt x="0" y="0"/>
                </a:moveTo>
                <a:lnTo>
                  <a:pt x="5700351" y="0"/>
                </a:lnTo>
                <a:lnTo>
                  <a:pt x="5700351" y="4553254"/>
                </a:lnTo>
                <a:lnTo>
                  <a:pt x="5585591" y="4566460"/>
                </a:lnTo>
                <a:cubicBezTo>
                  <a:pt x="5428617" y="4580902"/>
                  <a:pt x="5269598" y="4588282"/>
                  <a:pt x="5108855" y="4588282"/>
                </a:cubicBezTo>
                <a:cubicBezTo>
                  <a:pt x="2536971" y="4588282"/>
                  <a:pt x="406395" y="2698820"/>
                  <a:pt x="29517" y="232286"/>
                </a:cubicBezTo>
                <a:lnTo>
                  <a:pt x="0" y="0"/>
                </a:lnTo>
                <a:close/>
              </a:path>
            </a:pathLst>
          </a:custGeom>
          <a:solidFill>
            <a:srgbClr val="1FA2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grpSp>
        <p:nvGrpSpPr>
          <p:cNvPr id="8" name="Graphic 10">
            <a:extLst>
              <a:ext uri="{FF2B5EF4-FFF2-40B4-BE49-F238E27FC236}">
                <a16:creationId xmlns:a16="http://schemas.microsoft.com/office/drawing/2014/main" id="{9D4F8452-FEB3-FA43-3FC9-414EF86F52B2}"/>
              </a:ext>
            </a:extLst>
          </p:cNvPr>
          <p:cNvGrpSpPr/>
          <p:nvPr userDrawn="1"/>
        </p:nvGrpSpPr>
        <p:grpSpPr>
          <a:xfrm rot="16200000" flipV="1">
            <a:off x="7158276" y="3003052"/>
            <a:ext cx="6721792" cy="3360896"/>
            <a:chOff x="6919912" y="3216683"/>
            <a:chExt cx="2628900" cy="1314450"/>
          </a:xfrm>
          <a:noFill/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AF0D98B-75D0-CF1E-9440-6A2EA8E809CB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A6DA7DC-1F50-A7E9-5334-7585E1ECE033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96EC9C0-1E83-769A-3415-FB6D1D194666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45527AA-E181-C788-8BB4-57481F901B23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D3CE31F-A233-32C1-63A4-69B5755A47D4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EF77E84-2BBA-3160-57E0-545144FC07FE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31A588A-1772-B889-2D56-AD708B009BF8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37CB4C0-8F99-EB33-7EB5-EF73B1C7538B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31743C6-06E8-ECB1-7206-B4BB121E5F7D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AE80D6D-BEB9-40D3-B95D-8AA1CB4C6A76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A0AD90-3EFC-E5DA-F366-44A3D41198EF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3F2A1B7-8E53-AA2F-FCAD-0CB155A73A7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FF279B2-BF58-645D-5CFD-40646F103DE8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1FFA689-F63E-FA1E-0C32-BC857D51FDF3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grpSp>
        <p:nvGrpSpPr>
          <p:cNvPr id="40" name="Graphic 10">
            <a:extLst>
              <a:ext uri="{FF2B5EF4-FFF2-40B4-BE49-F238E27FC236}">
                <a16:creationId xmlns:a16="http://schemas.microsoft.com/office/drawing/2014/main" id="{00306E44-EBB1-13A1-070F-E5ACD4E6DC3B}"/>
              </a:ext>
            </a:extLst>
          </p:cNvPr>
          <p:cNvGrpSpPr/>
          <p:nvPr userDrawn="1"/>
        </p:nvGrpSpPr>
        <p:grpSpPr>
          <a:xfrm rot="16200000">
            <a:off x="-16902" y="4908942"/>
            <a:ext cx="1946855" cy="1928289"/>
            <a:chOff x="10196512" y="3216683"/>
            <a:chExt cx="1314450" cy="1314450"/>
          </a:xfrm>
          <a:noFill/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2EC5685-05FA-F746-B920-C4421418CDA2}"/>
                </a:ext>
              </a:extLst>
            </p:cNvPr>
            <p:cNvSpPr/>
            <p:nvPr/>
          </p:nvSpPr>
          <p:spPr>
            <a:xfrm>
              <a:off x="10196512" y="3216683"/>
              <a:ext cx="1314450" cy="1314450"/>
            </a:xfrm>
            <a:custGeom>
              <a:avLst/>
              <a:gdLst>
                <a:gd name="connsiteX0" fmla="*/ 0 w 1314450"/>
                <a:gd name="connsiteY0" fmla="*/ 1314450 h 1314450"/>
                <a:gd name="connsiteX1" fmla="*/ 1314450 w 1314450"/>
                <a:gd name="connsiteY1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4450" h="1314450">
                  <a:moveTo>
                    <a:pt x="0" y="1314450"/>
                  </a:moveTo>
                  <a:cubicBezTo>
                    <a:pt x="725995" y="1314450"/>
                    <a:pt x="1314450" y="725996"/>
                    <a:pt x="1314450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004DFE0-13D2-AF04-E322-816E82611EE9}"/>
                </a:ext>
              </a:extLst>
            </p:cNvPr>
            <p:cNvSpPr/>
            <p:nvPr/>
          </p:nvSpPr>
          <p:spPr>
            <a:xfrm>
              <a:off x="10196512" y="3216683"/>
              <a:ext cx="1216247" cy="1216247"/>
            </a:xfrm>
            <a:custGeom>
              <a:avLst/>
              <a:gdLst>
                <a:gd name="connsiteX0" fmla="*/ 0 w 1216247"/>
                <a:gd name="connsiteY0" fmla="*/ 1216247 h 1216247"/>
                <a:gd name="connsiteX1" fmla="*/ 1216247 w 1216247"/>
                <a:gd name="connsiteY1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6247" h="1216247">
                  <a:moveTo>
                    <a:pt x="0" y="1216247"/>
                  </a:moveTo>
                  <a:cubicBezTo>
                    <a:pt x="671703" y="1216247"/>
                    <a:pt x="1216247" y="671703"/>
                    <a:pt x="1216247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1BA8218-69A9-95D6-77AF-98C07012E485}"/>
                </a:ext>
              </a:extLst>
            </p:cNvPr>
            <p:cNvSpPr/>
            <p:nvPr/>
          </p:nvSpPr>
          <p:spPr>
            <a:xfrm>
              <a:off x="10196512" y="3216683"/>
              <a:ext cx="1118044" cy="1118044"/>
            </a:xfrm>
            <a:custGeom>
              <a:avLst/>
              <a:gdLst>
                <a:gd name="connsiteX0" fmla="*/ 0 w 1118044"/>
                <a:gd name="connsiteY0" fmla="*/ 1118045 h 1118044"/>
                <a:gd name="connsiteX1" fmla="*/ 1118045 w 1118044"/>
                <a:gd name="connsiteY1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8044" h="1118044">
                  <a:moveTo>
                    <a:pt x="0" y="1118045"/>
                  </a:moveTo>
                  <a:cubicBezTo>
                    <a:pt x="617506" y="1118045"/>
                    <a:pt x="1118045" y="617506"/>
                    <a:pt x="1118045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E25D3F5-C88C-D976-6A4A-B09CF842509D}"/>
                </a:ext>
              </a:extLst>
            </p:cNvPr>
            <p:cNvSpPr/>
            <p:nvPr/>
          </p:nvSpPr>
          <p:spPr>
            <a:xfrm>
              <a:off x="10196512" y="3216683"/>
              <a:ext cx="1019841" cy="1019841"/>
            </a:xfrm>
            <a:custGeom>
              <a:avLst/>
              <a:gdLst>
                <a:gd name="connsiteX0" fmla="*/ 0 w 1019841"/>
                <a:gd name="connsiteY0" fmla="*/ 1019842 h 1019841"/>
                <a:gd name="connsiteX1" fmla="*/ 1019842 w 1019841"/>
                <a:gd name="connsiteY1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9841" h="1019841">
                  <a:moveTo>
                    <a:pt x="0" y="1019842"/>
                  </a:moveTo>
                  <a:cubicBezTo>
                    <a:pt x="563309" y="1019842"/>
                    <a:pt x="1019842" y="563213"/>
                    <a:pt x="1019842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1D40BFA-B72F-EE30-4888-2FC120481AB2}"/>
                </a:ext>
              </a:extLst>
            </p:cNvPr>
            <p:cNvSpPr/>
            <p:nvPr/>
          </p:nvSpPr>
          <p:spPr>
            <a:xfrm>
              <a:off x="10196512" y="3216683"/>
              <a:ext cx="921639" cy="921639"/>
            </a:xfrm>
            <a:custGeom>
              <a:avLst/>
              <a:gdLst>
                <a:gd name="connsiteX0" fmla="*/ 0 w 921639"/>
                <a:gd name="connsiteY0" fmla="*/ 921639 h 921639"/>
                <a:gd name="connsiteX1" fmla="*/ 921639 w 921639"/>
                <a:gd name="connsiteY1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1639" h="921639">
                  <a:moveTo>
                    <a:pt x="0" y="921639"/>
                  </a:moveTo>
                  <a:cubicBezTo>
                    <a:pt x="509016" y="921639"/>
                    <a:pt x="921639" y="509016"/>
                    <a:pt x="921639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7230636-94C1-ACC8-CA17-D04E888AB735}"/>
                </a:ext>
              </a:extLst>
            </p:cNvPr>
            <p:cNvSpPr/>
            <p:nvPr/>
          </p:nvSpPr>
          <p:spPr>
            <a:xfrm>
              <a:off x="10196512" y="3216683"/>
              <a:ext cx="823531" cy="823531"/>
            </a:xfrm>
            <a:custGeom>
              <a:avLst/>
              <a:gdLst>
                <a:gd name="connsiteX0" fmla="*/ 0 w 823531"/>
                <a:gd name="connsiteY0" fmla="*/ 823532 h 823531"/>
                <a:gd name="connsiteX1" fmla="*/ 823532 w 823531"/>
                <a:gd name="connsiteY1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3531" h="823531">
                  <a:moveTo>
                    <a:pt x="0" y="823532"/>
                  </a:moveTo>
                  <a:cubicBezTo>
                    <a:pt x="454819" y="823532"/>
                    <a:pt x="823532" y="454819"/>
                    <a:pt x="823532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80FD10E-E751-2FD9-1230-40D3B06BC14E}"/>
                </a:ext>
              </a:extLst>
            </p:cNvPr>
            <p:cNvSpPr/>
            <p:nvPr/>
          </p:nvSpPr>
          <p:spPr>
            <a:xfrm>
              <a:off x="10196512" y="3216683"/>
              <a:ext cx="725328" cy="725328"/>
            </a:xfrm>
            <a:custGeom>
              <a:avLst/>
              <a:gdLst>
                <a:gd name="connsiteX0" fmla="*/ 0 w 725328"/>
                <a:gd name="connsiteY0" fmla="*/ 725329 h 725328"/>
                <a:gd name="connsiteX1" fmla="*/ 725329 w 725328"/>
                <a:gd name="connsiteY1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5328" h="725328">
                  <a:moveTo>
                    <a:pt x="0" y="725329"/>
                  </a:moveTo>
                  <a:cubicBezTo>
                    <a:pt x="400526" y="725329"/>
                    <a:pt x="725329" y="400622"/>
                    <a:pt x="725329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D7FC259-66AC-5442-6A91-11C1EB7F9D2B}"/>
                </a:ext>
              </a:extLst>
            </p:cNvPr>
            <p:cNvSpPr/>
            <p:nvPr/>
          </p:nvSpPr>
          <p:spPr>
            <a:xfrm>
              <a:off x="10196512" y="3216683"/>
              <a:ext cx="627126" cy="627125"/>
            </a:xfrm>
            <a:custGeom>
              <a:avLst/>
              <a:gdLst>
                <a:gd name="connsiteX0" fmla="*/ 0 w 627126"/>
                <a:gd name="connsiteY0" fmla="*/ 627126 h 627125"/>
                <a:gd name="connsiteX1" fmla="*/ 627126 w 627126"/>
                <a:gd name="connsiteY1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126" h="627125">
                  <a:moveTo>
                    <a:pt x="0" y="627126"/>
                  </a:moveTo>
                  <a:cubicBezTo>
                    <a:pt x="346329" y="627126"/>
                    <a:pt x="627126" y="346329"/>
                    <a:pt x="627126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8618F04-7F7A-3071-E944-FDE437685478}"/>
                </a:ext>
              </a:extLst>
            </p:cNvPr>
            <p:cNvSpPr/>
            <p:nvPr/>
          </p:nvSpPr>
          <p:spPr>
            <a:xfrm>
              <a:off x="10196512" y="3216683"/>
              <a:ext cx="528923" cy="528923"/>
            </a:xfrm>
            <a:custGeom>
              <a:avLst/>
              <a:gdLst>
                <a:gd name="connsiteX0" fmla="*/ 0 w 528923"/>
                <a:gd name="connsiteY0" fmla="*/ 528923 h 528923"/>
                <a:gd name="connsiteX1" fmla="*/ 528924 w 528923"/>
                <a:gd name="connsiteY1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8923" h="528923">
                  <a:moveTo>
                    <a:pt x="0" y="528923"/>
                  </a:moveTo>
                  <a:cubicBezTo>
                    <a:pt x="292132" y="528923"/>
                    <a:pt x="528924" y="292132"/>
                    <a:pt x="528924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6D838F0-DD64-C722-7D6F-C6DB9F9FCEB0}"/>
                </a:ext>
              </a:extLst>
            </p:cNvPr>
            <p:cNvSpPr/>
            <p:nvPr/>
          </p:nvSpPr>
          <p:spPr>
            <a:xfrm>
              <a:off x="10196512" y="3216683"/>
              <a:ext cx="430720" cy="430720"/>
            </a:xfrm>
            <a:custGeom>
              <a:avLst/>
              <a:gdLst>
                <a:gd name="connsiteX0" fmla="*/ 0 w 430720"/>
                <a:gd name="connsiteY0" fmla="*/ 430721 h 430720"/>
                <a:gd name="connsiteX1" fmla="*/ 430720 w 430720"/>
                <a:gd name="connsiteY1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720" h="430720">
                  <a:moveTo>
                    <a:pt x="0" y="430721"/>
                  </a:moveTo>
                  <a:cubicBezTo>
                    <a:pt x="237839" y="430721"/>
                    <a:pt x="430720" y="237839"/>
                    <a:pt x="430720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CA3B26F-52FA-CC11-F296-CC85CF954413}"/>
                </a:ext>
              </a:extLst>
            </p:cNvPr>
            <p:cNvSpPr/>
            <p:nvPr/>
          </p:nvSpPr>
          <p:spPr>
            <a:xfrm>
              <a:off x="10196512" y="3216683"/>
              <a:ext cx="332517" cy="332517"/>
            </a:xfrm>
            <a:custGeom>
              <a:avLst/>
              <a:gdLst>
                <a:gd name="connsiteX0" fmla="*/ 0 w 332517"/>
                <a:gd name="connsiteY0" fmla="*/ 332518 h 332517"/>
                <a:gd name="connsiteX1" fmla="*/ 332518 w 332517"/>
                <a:gd name="connsiteY1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517" h="332517">
                  <a:moveTo>
                    <a:pt x="0" y="332518"/>
                  </a:moveTo>
                  <a:cubicBezTo>
                    <a:pt x="183642" y="332518"/>
                    <a:pt x="332518" y="183642"/>
                    <a:pt x="332518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71CA178-0C15-FFDA-5273-CC1DB8AE7CC6}"/>
                </a:ext>
              </a:extLst>
            </p:cNvPr>
            <p:cNvSpPr/>
            <p:nvPr/>
          </p:nvSpPr>
          <p:spPr>
            <a:xfrm>
              <a:off x="10196512" y="3216683"/>
              <a:ext cx="234314" cy="234315"/>
            </a:xfrm>
            <a:custGeom>
              <a:avLst/>
              <a:gdLst>
                <a:gd name="connsiteX0" fmla="*/ 0 w 234314"/>
                <a:gd name="connsiteY0" fmla="*/ 234315 h 234315"/>
                <a:gd name="connsiteX1" fmla="*/ 234315 w 234314"/>
                <a:gd name="connsiteY1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5">
                  <a:moveTo>
                    <a:pt x="0" y="234315"/>
                  </a:moveTo>
                  <a:cubicBezTo>
                    <a:pt x="129445" y="234315"/>
                    <a:pt x="234315" y="129350"/>
                    <a:pt x="234315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45D803-7D6A-23C5-3E46-2A31370F6ED2}"/>
                </a:ext>
              </a:extLst>
            </p:cNvPr>
            <p:cNvSpPr/>
            <p:nvPr/>
          </p:nvSpPr>
          <p:spPr>
            <a:xfrm>
              <a:off x="10196512" y="3216683"/>
              <a:ext cx="136112" cy="136112"/>
            </a:xfrm>
            <a:custGeom>
              <a:avLst/>
              <a:gdLst>
                <a:gd name="connsiteX0" fmla="*/ 0 w 136112"/>
                <a:gd name="connsiteY0" fmla="*/ 136112 h 136112"/>
                <a:gd name="connsiteX1" fmla="*/ 136112 w 136112"/>
                <a:gd name="connsiteY1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112" h="136112">
                  <a:moveTo>
                    <a:pt x="0" y="136112"/>
                  </a:moveTo>
                  <a:cubicBezTo>
                    <a:pt x="75152" y="136112"/>
                    <a:pt x="136112" y="75152"/>
                    <a:pt x="136112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DE6F798-8EF6-7DF5-5113-8FF6B510ECF7}"/>
                </a:ext>
              </a:extLst>
            </p:cNvPr>
            <p:cNvSpPr/>
            <p:nvPr/>
          </p:nvSpPr>
          <p:spPr>
            <a:xfrm>
              <a:off x="10196512" y="3216683"/>
              <a:ext cx="38004" cy="38004"/>
            </a:xfrm>
            <a:custGeom>
              <a:avLst/>
              <a:gdLst>
                <a:gd name="connsiteX0" fmla="*/ 0 w 38004"/>
                <a:gd name="connsiteY0" fmla="*/ 38005 h 38004"/>
                <a:gd name="connsiteX1" fmla="*/ 38005 w 38004"/>
                <a:gd name="connsiteY1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04" h="38004">
                  <a:moveTo>
                    <a:pt x="0" y="38005"/>
                  </a:moveTo>
                  <a:cubicBezTo>
                    <a:pt x="20955" y="38005"/>
                    <a:pt x="38005" y="21050"/>
                    <a:pt x="38005" y="0"/>
                  </a:cubicBezTo>
                </a:path>
              </a:pathLst>
            </a:custGeom>
            <a:noFill/>
            <a:ln w="17780" cap="flat">
              <a:gradFill>
                <a:gsLst>
                  <a:gs pos="0">
                    <a:schemeClr val="bg1">
                      <a:alpha val="39000"/>
                    </a:schemeClr>
                  </a:gs>
                  <a:gs pos="100000">
                    <a:schemeClr val="bg2">
                      <a:alpha val="2800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1786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FF6AF10-E5C7-CC24-3A85-D0B584F62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8719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F6AF10-E5C7-CC24-3A85-D0B584F62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715AFB3-4328-7134-6086-E5CDBC9F2F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" y="-12002"/>
            <a:ext cx="4623719" cy="6127362"/>
          </a:xfrm>
          <a:custGeom>
            <a:avLst/>
            <a:gdLst>
              <a:gd name="connsiteX0" fmla="*/ 0 w 4623719"/>
              <a:gd name="connsiteY0" fmla="*/ 0 h 6127362"/>
              <a:gd name="connsiteX1" fmla="*/ 4619898 w 4623719"/>
              <a:gd name="connsiteY1" fmla="*/ 0 h 6127362"/>
              <a:gd name="connsiteX2" fmla="*/ 4623719 w 4623719"/>
              <a:gd name="connsiteY2" fmla="*/ 181392 h 6127362"/>
              <a:gd name="connsiteX3" fmla="*/ 12576 w 4623719"/>
              <a:gd name="connsiteY3" fmla="*/ 6125003 h 6127362"/>
              <a:gd name="connsiteX4" fmla="*/ 0 w 4623719"/>
              <a:gd name="connsiteY4" fmla="*/ 6127362 h 612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3719" h="6127362">
                <a:moveTo>
                  <a:pt x="0" y="0"/>
                </a:moveTo>
                <a:lnTo>
                  <a:pt x="4619898" y="0"/>
                </a:lnTo>
                <a:lnTo>
                  <a:pt x="4623719" y="181392"/>
                </a:lnTo>
                <a:cubicBezTo>
                  <a:pt x="4623719" y="3113201"/>
                  <a:pt x="2644150" y="5559290"/>
                  <a:pt x="12576" y="6125003"/>
                </a:cubicBezTo>
                <a:lnTo>
                  <a:pt x="0" y="6127362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or drag and </a:t>
            </a:r>
            <a:br>
              <a:rPr lang="en-US"/>
            </a:br>
            <a:r>
              <a:rPr lang="en-US"/>
              <a:t>drop to add imag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6C2F514-906F-084A-503A-27D516820A26}"/>
              </a:ext>
            </a:extLst>
          </p:cNvPr>
          <p:cNvGrpSpPr/>
          <p:nvPr userDrawn="1"/>
        </p:nvGrpSpPr>
        <p:grpSpPr>
          <a:xfrm>
            <a:off x="1727214" y="-2968235"/>
            <a:ext cx="4767374" cy="4767374"/>
            <a:chOff x="7101970" y="469310"/>
            <a:chExt cx="2638425" cy="2638425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23FB06B-4513-1BC6-DEAB-ABB64AAB500A}"/>
                </a:ext>
              </a:extLst>
            </p:cNvPr>
            <p:cNvSpPr/>
            <p:nvPr/>
          </p:nvSpPr>
          <p:spPr>
            <a:xfrm>
              <a:off x="7101970" y="469310"/>
              <a:ext cx="2638425" cy="2638425"/>
            </a:xfrm>
            <a:custGeom>
              <a:avLst/>
              <a:gdLst>
                <a:gd name="connsiteX0" fmla="*/ 2638425 w 2638425"/>
                <a:gd name="connsiteY0" fmla="*/ 1319213 h 2638425"/>
                <a:gd name="connsiteX1" fmla="*/ 1319213 w 2638425"/>
                <a:gd name="connsiteY1" fmla="*/ 2638425 h 2638425"/>
                <a:gd name="connsiteX2" fmla="*/ 0 w 2638425"/>
                <a:gd name="connsiteY2" fmla="*/ 1319213 h 2638425"/>
                <a:gd name="connsiteX3" fmla="*/ 1319213 w 2638425"/>
                <a:gd name="connsiteY3" fmla="*/ 0 h 2638425"/>
                <a:gd name="connsiteX4" fmla="*/ 2638425 w 2638425"/>
                <a:gd name="connsiteY4" fmla="*/ 1319213 h 26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5" h="2638425">
                  <a:moveTo>
                    <a:pt x="2638425" y="1319213"/>
                  </a:moveTo>
                  <a:cubicBezTo>
                    <a:pt x="2638425" y="2047794"/>
                    <a:pt x="2047794" y="2638425"/>
                    <a:pt x="1319213" y="2638425"/>
                  </a:cubicBezTo>
                  <a:cubicBezTo>
                    <a:pt x="590632" y="2638425"/>
                    <a:pt x="0" y="2047794"/>
                    <a:pt x="0" y="1319213"/>
                  </a:cubicBezTo>
                  <a:cubicBezTo>
                    <a:pt x="0" y="590632"/>
                    <a:pt x="590632" y="0"/>
                    <a:pt x="1319213" y="0"/>
                  </a:cubicBezTo>
                  <a:cubicBezTo>
                    <a:pt x="2047794" y="0"/>
                    <a:pt x="2638425" y="590632"/>
                    <a:pt x="2638425" y="1319213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4C60767-23A5-2C6C-BDB7-93AC8B8A9460}"/>
                </a:ext>
              </a:extLst>
            </p:cNvPr>
            <p:cNvSpPr/>
            <p:nvPr/>
          </p:nvSpPr>
          <p:spPr>
            <a:xfrm>
              <a:off x="7200554" y="567894"/>
              <a:ext cx="2441257" cy="2441257"/>
            </a:xfrm>
            <a:custGeom>
              <a:avLst/>
              <a:gdLst>
                <a:gd name="connsiteX0" fmla="*/ 2441258 w 2441257"/>
                <a:gd name="connsiteY0" fmla="*/ 1220629 h 2441257"/>
                <a:gd name="connsiteX1" fmla="*/ 1220629 w 2441257"/>
                <a:gd name="connsiteY1" fmla="*/ 2441258 h 2441257"/>
                <a:gd name="connsiteX2" fmla="*/ 0 w 2441257"/>
                <a:gd name="connsiteY2" fmla="*/ 1220629 h 2441257"/>
                <a:gd name="connsiteX3" fmla="*/ 1220629 w 2441257"/>
                <a:gd name="connsiteY3" fmla="*/ 0 h 2441257"/>
                <a:gd name="connsiteX4" fmla="*/ 2441258 w 2441257"/>
                <a:gd name="connsiteY4" fmla="*/ 1220629 h 244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257" h="2441257">
                  <a:moveTo>
                    <a:pt x="2441258" y="1220629"/>
                  </a:moveTo>
                  <a:cubicBezTo>
                    <a:pt x="2441258" y="1894763"/>
                    <a:pt x="1894763" y="2441258"/>
                    <a:pt x="1220629" y="2441258"/>
                  </a:cubicBezTo>
                  <a:cubicBezTo>
                    <a:pt x="546494" y="2441258"/>
                    <a:pt x="0" y="1894763"/>
                    <a:pt x="0" y="1220629"/>
                  </a:cubicBezTo>
                  <a:cubicBezTo>
                    <a:pt x="0" y="546494"/>
                    <a:pt x="546494" y="0"/>
                    <a:pt x="1220629" y="0"/>
                  </a:cubicBezTo>
                  <a:cubicBezTo>
                    <a:pt x="1894763" y="0"/>
                    <a:pt x="2441258" y="546494"/>
                    <a:pt x="2441258" y="1220629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B6DA644-ECBA-D526-E86F-31FCF26C719D}"/>
                </a:ext>
              </a:extLst>
            </p:cNvPr>
            <p:cNvSpPr/>
            <p:nvPr/>
          </p:nvSpPr>
          <p:spPr>
            <a:xfrm>
              <a:off x="7299042" y="666382"/>
              <a:ext cx="2244280" cy="2244280"/>
            </a:xfrm>
            <a:custGeom>
              <a:avLst/>
              <a:gdLst>
                <a:gd name="connsiteX0" fmla="*/ 2244281 w 2244280"/>
                <a:gd name="connsiteY0" fmla="*/ 1122140 h 2244280"/>
                <a:gd name="connsiteX1" fmla="*/ 1122140 w 2244280"/>
                <a:gd name="connsiteY1" fmla="*/ 2244281 h 2244280"/>
                <a:gd name="connsiteX2" fmla="*/ 0 w 2244280"/>
                <a:gd name="connsiteY2" fmla="*/ 1122140 h 2244280"/>
                <a:gd name="connsiteX3" fmla="*/ 1122140 w 2244280"/>
                <a:gd name="connsiteY3" fmla="*/ 0 h 2244280"/>
                <a:gd name="connsiteX4" fmla="*/ 2244281 w 2244280"/>
                <a:gd name="connsiteY4" fmla="*/ 1122140 h 224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4280" h="2244280">
                  <a:moveTo>
                    <a:pt x="2244281" y="1122140"/>
                  </a:moveTo>
                  <a:cubicBezTo>
                    <a:pt x="2244281" y="1741881"/>
                    <a:pt x="1741881" y="2244281"/>
                    <a:pt x="1122140" y="2244281"/>
                  </a:cubicBezTo>
                  <a:cubicBezTo>
                    <a:pt x="502399" y="2244281"/>
                    <a:pt x="0" y="1741881"/>
                    <a:pt x="0" y="1122140"/>
                  </a:cubicBezTo>
                  <a:cubicBezTo>
                    <a:pt x="0" y="502399"/>
                    <a:pt x="502399" y="0"/>
                    <a:pt x="1122140" y="0"/>
                  </a:cubicBezTo>
                  <a:cubicBezTo>
                    <a:pt x="1741881" y="0"/>
                    <a:pt x="2244281" y="502399"/>
                    <a:pt x="2244281" y="112214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C10950-8F9F-70F9-C3D7-A245A56C321E}"/>
                </a:ext>
              </a:extLst>
            </p:cNvPr>
            <p:cNvSpPr/>
            <p:nvPr/>
          </p:nvSpPr>
          <p:spPr>
            <a:xfrm>
              <a:off x="7397626" y="764966"/>
              <a:ext cx="2047112" cy="2047112"/>
            </a:xfrm>
            <a:custGeom>
              <a:avLst/>
              <a:gdLst>
                <a:gd name="connsiteX0" fmla="*/ 2047113 w 2047112"/>
                <a:gd name="connsiteY0" fmla="*/ 1023557 h 2047112"/>
                <a:gd name="connsiteX1" fmla="*/ 1023557 w 2047112"/>
                <a:gd name="connsiteY1" fmla="*/ 2047113 h 2047112"/>
                <a:gd name="connsiteX2" fmla="*/ 0 w 2047112"/>
                <a:gd name="connsiteY2" fmla="*/ 1023557 h 2047112"/>
                <a:gd name="connsiteX3" fmla="*/ 1023557 w 2047112"/>
                <a:gd name="connsiteY3" fmla="*/ 0 h 2047112"/>
                <a:gd name="connsiteX4" fmla="*/ 2047113 w 2047112"/>
                <a:gd name="connsiteY4" fmla="*/ 1023557 h 20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7112" h="2047112">
                  <a:moveTo>
                    <a:pt x="2047113" y="1023557"/>
                  </a:moveTo>
                  <a:cubicBezTo>
                    <a:pt x="2047113" y="1588851"/>
                    <a:pt x="1588851" y="2047113"/>
                    <a:pt x="1023557" y="2047113"/>
                  </a:cubicBezTo>
                  <a:cubicBezTo>
                    <a:pt x="458262" y="2047113"/>
                    <a:pt x="0" y="1588851"/>
                    <a:pt x="0" y="1023557"/>
                  </a:cubicBezTo>
                  <a:cubicBezTo>
                    <a:pt x="0" y="458262"/>
                    <a:pt x="458262" y="0"/>
                    <a:pt x="1023557" y="0"/>
                  </a:cubicBezTo>
                  <a:cubicBezTo>
                    <a:pt x="1588851" y="0"/>
                    <a:pt x="2047113" y="458262"/>
                    <a:pt x="2047113" y="1023557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D58E425-ADB4-99B6-BDD4-64C1A22674BA}"/>
                </a:ext>
              </a:extLst>
            </p:cNvPr>
            <p:cNvSpPr/>
            <p:nvPr/>
          </p:nvSpPr>
          <p:spPr>
            <a:xfrm>
              <a:off x="7496114" y="863454"/>
              <a:ext cx="1850136" cy="1850136"/>
            </a:xfrm>
            <a:custGeom>
              <a:avLst/>
              <a:gdLst>
                <a:gd name="connsiteX0" fmla="*/ 1850136 w 1850136"/>
                <a:gd name="connsiteY0" fmla="*/ 925068 h 1850136"/>
                <a:gd name="connsiteX1" fmla="*/ 925068 w 1850136"/>
                <a:gd name="connsiteY1" fmla="*/ 1850136 h 1850136"/>
                <a:gd name="connsiteX2" fmla="*/ 0 w 1850136"/>
                <a:gd name="connsiteY2" fmla="*/ 925068 h 1850136"/>
                <a:gd name="connsiteX3" fmla="*/ 925068 w 1850136"/>
                <a:gd name="connsiteY3" fmla="*/ 0 h 1850136"/>
                <a:gd name="connsiteX4" fmla="*/ 1850136 w 1850136"/>
                <a:gd name="connsiteY4" fmla="*/ 925068 h 185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136" h="1850136">
                  <a:moveTo>
                    <a:pt x="1850136" y="925068"/>
                  </a:moveTo>
                  <a:cubicBezTo>
                    <a:pt x="1850136" y="1435969"/>
                    <a:pt x="1435969" y="1850136"/>
                    <a:pt x="925068" y="1850136"/>
                  </a:cubicBezTo>
                  <a:cubicBezTo>
                    <a:pt x="414167" y="1850136"/>
                    <a:pt x="0" y="1435969"/>
                    <a:pt x="0" y="925068"/>
                  </a:cubicBezTo>
                  <a:cubicBezTo>
                    <a:pt x="0" y="414167"/>
                    <a:pt x="414167" y="0"/>
                    <a:pt x="925068" y="0"/>
                  </a:cubicBezTo>
                  <a:cubicBezTo>
                    <a:pt x="1435969" y="0"/>
                    <a:pt x="1850136" y="414167"/>
                    <a:pt x="1850136" y="92506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9E3E40C-5B71-F1F4-9C05-955F34BAB465}"/>
                </a:ext>
              </a:extLst>
            </p:cNvPr>
            <p:cNvSpPr/>
            <p:nvPr/>
          </p:nvSpPr>
          <p:spPr>
            <a:xfrm>
              <a:off x="7594698" y="962038"/>
              <a:ext cx="1652968" cy="1652968"/>
            </a:xfrm>
            <a:custGeom>
              <a:avLst/>
              <a:gdLst>
                <a:gd name="connsiteX0" fmla="*/ 1652969 w 1652968"/>
                <a:gd name="connsiteY0" fmla="*/ 826484 h 1652968"/>
                <a:gd name="connsiteX1" fmla="*/ 826484 w 1652968"/>
                <a:gd name="connsiteY1" fmla="*/ 1652969 h 1652968"/>
                <a:gd name="connsiteX2" fmla="*/ 0 w 1652968"/>
                <a:gd name="connsiteY2" fmla="*/ 826484 h 1652968"/>
                <a:gd name="connsiteX3" fmla="*/ 826484 w 1652968"/>
                <a:gd name="connsiteY3" fmla="*/ 0 h 1652968"/>
                <a:gd name="connsiteX4" fmla="*/ 1652969 w 1652968"/>
                <a:gd name="connsiteY4" fmla="*/ 826484 h 165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968" h="1652968">
                  <a:moveTo>
                    <a:pt x="1652969" y="826484"/>
                  </a:moveTo>
                  <a:cubicBezTo>
                    <a:pt x="1652969" y="1282939"/>
                    <a:pt x="1282939" y="1652969"/>
                    <a:pt x="826484" y="1652969"/>
                  </a:cubicBezTo>
                  <a:cubicBezTo>
                    <a:pt x="370030" y="1652969"/>
                    <a:pt x="0" y="1282939"/>
                    <a:pt x="0" y="826484"/>
                  </a:cubicBezTo>
                  <a:cubicBezTo>
                    <a:pt x="0" y="370030"/>
                    <a:pt x="370030" y="0"/>
                    <a:pt x="826484" y="0"/>
                  </a:cubicBezTo>
                  <a:cubicBezTo>
                    <a:pt x="1282939" y="0"/>
                    <a:pt x="1652969" y="370030"/>
                    <a:pt x="1652969" y="8264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26A63DE-102D-58EE-D7DE-6322066DB2CC}"/>
                </a:ext>
              </a:extLst>
            </p:cNvPr>
            <p:cNvSpPr/>
            <p:nvPr/>
          </p:nvSpPr>
          <p:spPr>
            <a:xfrm>
              <a:off x="7693282" y="1060622"/>
              <a:ext cx="1455801" cy="1455801"/>
            </a:xfrm>
            <a:custGeom>
              <a:avLst/>
              <a:gdLst>
                <a:gd name="connsiteX0" fmla="*/ 1455801 w 1455801"/>
                <a:gd name="connsiteY0" fmla="*/ 727901 h 1455801"/>
                <a:gd name="connsiteX1" fmla="*/ 727901 w 1455801"/>
                <a:gd name="connsiteY1" fmla="*/ 1455801 h 1455801"/>
                <a:gd name="connsiteX2" fmla="*/ 0 w 1455801"/>
                <a:gd name="connsiteY2" fmla="*/ 727901 h 1455801"/>
                <a:gd name="connsiteX3" fmla="*/ 727901 w 1455801"/>
                <a:gd name="connsiteY3" fmla="*/ 0 h 1455801"/>
                <a:gd name="connsiteX4" fmla="*/ 1455801 w 1455801"/>
                <a:gd name="connsiteY4" fmla="*/ 727901 h 145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801" h="1455801">
                  <a:moveTo>
                    <a:pt x="1455801" y="727901"/>
                  </a:moveTo>
                  <a:cubicBezTo>
                    <a:pt x="1455801" y="1129909"/>
                    <a:pt x="1129909" y="1455801"/>
                    <a:pt x="727901" y="1455801"/>
                  </a:cubicBezTo>
                  <a:cubicBezTo>
                    <a:pt x="325892" y="1455801"/>
                    <a:pt x="0" y="1129909"/>
                    <a:pt x="0" y="727901"/>
                  </a:cubicBezTo>
                  <a:cubicBezTo>
                    <a:pt x="0" y="325892"/>
                    <a:pt x="325892" y="0"/>
                    <a:pt x="727901" y="0"/>
                  </a:cubicBezTo>
                  <a:cubicBezTo>
                    <a:pt x="1129909" y="0"/>
                    <a:pt x="1455801" y="325892"/>
                    <a:pt x="1455801" y="727901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C2E62F3-092F-0A53-23F0-03ADEDB63996}"/>
                </a:ext>
              </a:extLst>
            </p:cNvPr>
            <p:cNvSpPr/>
            <p:nvPr/>
          </p:nvSpPr>
          <p:spPr>
            <a:xfrm>
              <a:off x="7791770" y="1159110"/>
              <a:ext cx="1258823" cy="1258823"/>
            </a:xfrm>
            <a:custGeom>
              <a:avLst/>
              <a:gdLst>
                <a:gd name="connsiteX0" fmla="*/ 1258824 w 1258823"/>
                <a:gd name="connsiteY0" fmla="*/ 629412 h 1258823"/>
                <a:gd name="connsiteX1" fmla="*/ 629412 w 1258823"/>
                <a:gd name="connsiteY1" fmla="*/ 1258824 h 1258823"/>
                <a:gd name="connsiteX2" fmla="*/ 0 w 1258823"/>
                <a:gd name="connsiteY2" fmla="*/ 629412 h 1258823"/>
                <a:gd name="connsiteX3" fmla="*/ 629412 w 1258823"/>
                <a:gd name="connsiteY3" fmla="*/ 0 h 1258823"/>
                <a:gd name="connsiteX4" fmla="*/ 1258824 w 1258823"/>
                <a:gd name="connsiteY4" fmla="*/ 629412 h 125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823" h="1258823">
                  <a:moveTo>
                    <a:pt x="1258824" y="629412"/>
                  </a:moveTo>
                  <a:cubicBezTo>
                    <a:pt x="1258824" y="977027"/>
                    <a:pt x="977027" y="1258824"/>
                    <a:pt x="629412" y="1258824"/>
                  </a:cubicBezTo>
                  <a:cubicBezTo>
                    <a:pt x="281797" y="1258824"/>
                    <a:pt x="0" y="977027"/>
                    <a:pt x="0" y="629412"/>
                  </a:cubicBezTo>
                  <a:cubicBezTo>
                    <a:pt x="0" y="281797"/>
                    <a:pt x="281797" y="0"/>
                    <a:pt x="629412" y="0"/>
                  </a:cubicBezTo>
                  <a:cubicBezTo>
                    <a:pt x="977027" y="0"/>
                    <a:pt x="1258824" y="281797"/>
                    <a:pt x="1258824" y="62941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453D5AD-F94B-D515-DD55-6BCD86BD47B9}"/>
                </a:ext>
              </a:extLst>
            </p:cNvPr>
            <p:cNvSpPr/>
            <p:nvPr/>
          </p:nvSpPr>
          <p:spPr>
            <a:xfrm>
              <a:off x="7890354" y="1257694"/>
              <a:ext cx="1061656" cy="1061656"/>
            </a:xfrm>
            <a:custGeom>
              <a:avLst/>
              <a:gdLst>
                <a:gd name="connsiteX0" fmla="*/ 1061657 w 1061656"/>
                <a:gd name="connsiteY0" fmla="*/ 530828 h 1061656"/>
                <a:gd name="connsiteX1" fmla="*/ 530828 w 1061656"/>
                <a:gd name="connsiteY1" fmla="*/ 1061657 h 1061656"/>
                <a:gd name="connsiteX2" fmla="*/ 0 w 1061656"/>
                <a:gd name="connsiteY2" fmla="*/ 530828 h 1061656"/>
                <a:gd name="connsiteX3" fmla="*/ 530828 w 1061656"/>
                <a:gd name="connsiteY3" fmla="*/ 0 h 1061656"/>
                <a:gd name="connsiteX4" fmla="*/ 1061657 w 1061656"/>
                <a:gd name="connsiteY4" fmla="*/ 530828 h 106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656" h="1061656">
                  <a:moveTo>
                    <a:pt x="1061657" y="530828"/>
                  </a:moveTo>
                  <a:cubicBezTo>
                    <a:pt x="1061657" y="823997"/>
                    <a:pt x="823997" y="1061657"/>
                    <a:pt x="530828" y="1061657"/>
                  </a:cubicBezTo>
                  <a:cubicBezTo>
                    <a:pt x="237660" y="1061657"/>
                    <a:pt x="0" y="823997"/>
                    <a:pt x="0" y="530828"/>
                  </a:cubicBezTo>
                  <a:cubicBezTo>
                    <a:pt x="0" y="237660"/>
                    <a:pt x="237660" y="0"/>
                    <a:pt x="530828" y="0"/>
                  </a:cubicBezTo>
                  <a:cubicBezTo>
                    <a:pt x="823997" y="0"/>
                    <a:pt x="1061657" y="237660"/>
                    <a:pt x="1061657" y="530828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0EDCD5B-0496-18B8-2BB9-A47B4D9F7DF9}"/>
                </a:ext>
              </a:extLst>
            </p:cNvPr>
            <p:cNvSpPr/>
            <p:nvPr/>
          </p:nvSpPr>
          <p:spPr>
            <a:xfrm>
              <a:off x="7988938" y="1356278"/>
              <a:ext cx="864488" cy="864488"/>
            </a:xfrm>
            <a:custGeom>
              <a:avLst/>
              <a:gdLst>
                <a:gd name="connsiteX0" fmla="*/ 864489 w 864488"/>
                <a:gd name="connsiteY0" fmla="*/ 432245 h 864488"/>
                <a:gd name="connsiteX1" fmla="*/ 432245 w 864488"/>
                <a:gd name="connsiteY1" fmla="*/ 864489 h 864488"/>
                <a:gd name="connsiteX2" fmla="*/ 0 w 864488"/>
                <a:gd name="connsiteY2" fmla="*/ 432245 h 864488"/>
                <a:gd name="connsiteX3" fmla="*/ 432245 w 864488"/>
                <a:gd name="connsiteY3" fmla="*/ 0 h 864488"/>
                <a:gd name="connsiteX4" fmla="*/ 864489 w 864488"/>
                <a:gd name="connsiteY4" fmla="*/ 432245 h 86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488" h="864488">
                  <a:moveTo>
                    <a:pt x="864489" y="432245"/>
                  </a:moveTo>
                  <a:cubicBezTo>
                    <a:pt x="864489" y="670967"/>
                    <a:pt x="670967" y="864489"/>
                    <a:pt x="432245" y="864489"/>
                  </a:cubicBezTo>
                  <a:cubicBezTo>
                    <a:pt x="193522" y="864489"/>
                    <a:pt x="0" y="670967"/>
                    <a:pt x="0" y="432245"/>
                  </a:cubicBezTo>
                  <a:cubicBezTo>
                    <a:pt x="0" y="193522"/>
                    <a:pt x="193523" y="0"/>
                    <a:pt x="432245" y="0"/>
                  </a:cubicBezTo>
                  <a:cubicBezTo>
                    <a:pt x="670967" y="0"/>
                    <a:pt x="864489" y="193523"/>
                    <a:pt x="864489" y="432245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20CEB04-4149-BBC6-80B9-2AC795534D8F}"/>
                </a:ext>
              </a:extLst>
            </p:cNvPr>
            <p:cNvSpPr/>
            <p:nvPr/>
          </p:nvSpPr>
          <p:spPr>
            <a:xfrm>
              <a:off x="8087426" y="1454766"/>
              <a:ext cx="667511" cy="667511"/>
            </a:xfrm>
            <a:custGeom>
              <a:avLst/>
              <a:gdLst>
                <a:gd name="connsiteX0" fmla="*/ 667512 w 667511"/>
                <a:gd name="connsiteY0" fmla="*/ 333756 h 667511"/>
                <a:gd name="connsiteX1" fmla="*/ 333756 w 667511"/>
                <a:gd name="connsiteY1" fmla="*/ 667512 h 667511"/>
                <a:gd name="connsiteX2" fmla="*/ 0 w 667511"/>
                <a:gd name="connsiteY2" fmla="*/ 333756 h 667511"/>
                <a:gd name="connsiteX3" fmla="*/ 333756 w 667511"/>
                <a:gd name="connsiteY3" fmla="*/ 0 h 667511"/>
                <a:gd name="connsiteX4" fmla="*/ 667512 w 667511"/>
                <a:gd name="connsiteY4" fmla="*/ 333756 h 66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511" h="667511">
                  <a:moveTo>
                    <a:pt x="667512" y="333756"/>
                  </a:moveTo>
                  <a:cubicBezTo>
                    <a:pt x="667512" y="518084"/>
                    <a:pt x="518084" y="667512"/>
                    <a:pt x="333756" y="667512"/>
                  </a:cubicBezTo>
                  <a:cubicBezTo>
                    <a:pt x="149428" y="667512"/>
                    <a:pt x="0" y="518084"/>
                    <a:pt x="0" y="333756"/>
                  </a:cubicBezTo>
                  <a:cubicBezTo>
                    <a:pt x="0" y="149428"/>
                    <a:pt x="149428" y="0"/>
                    <a:pt x="333756" y="0"/>
                  </a:cubicBezTo>
                  <a:cubicBezTo>
                    <a:pt x="518084" y="0"/>
                    <a:pt x="667512" y="149428"/>
                    <a:pt x="667512" y="333756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27AA848-04D4-4D1D-7C7C-A283272E12FB}"/>
                </a:ext>
              </a:extLst>
            </p:cNvPr>
            <p:cNvSpPr/>
            <p:nvPr/>
          </p:nvSpPr>
          <p:spPr>
            <a:xfrm>
              <a:off x="8186010" y="1553350"/>
              <a:ext cx="470344" cy="470344"/>
            </a:xfrm>
            <a:custGeom>
              <a:avLst/>
              <a:gdLst>
                <a:gd name="connsiteX0" fmla="*/ 470345 w 470344"/>
                <a:gd name="connsiteY0" fmla="*/ 235172 h 470344"/>
                <a:gd name="connsiteX1" fmla="*/ 235172 w 470344"/>
                <a:gd name="connsiteY1" fmla="*/ 470345 h 470344"/>
                <a:gd name="connsiteX2" fmla="*/ 0 w 470344"/>
                <a:gd name="connsiteY2" fmla="*/ 235172 h 470344"/>
                <a:gd name="connsiteX3" fmla="*/ 235172 w 470344"/>
                <a:gd name="connsiteY3" fmla="*/ 0 h 470344"/>
                <a:gd name="connsiteX4" fmla="*/ 470345 w 470344"/>
                <a:gd name="connsiteY4" fmla="*/ 235172 h 47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344" h="470344">
                  <a:moveTo>
                    <a:pt x="470345" y="235172"/>
                  </a:moveTo>
                  <a:cubicBezTo>
                    <a:pt x="470345" y="365054"/>
                    <a:pt x="365054" y="470345"/>
                    <a:pt x="235172" y="470345"/>
                  </a:cubicBezTo>
                  <a:cubicBezTo>
                    <a:pt x="105290" y="470345"/>
                    <a:pt x="0" y="365054"/>
                    <a:pt x="0" y="235172"/>
                  </a:cubicBezTo>
                  <a:cubicBezTo>
                    <a:pt x="0" y="105290"/>
                    <a:pt x="105290" y="0"/>
                    <a:pt x="235172" y="0"/>
                  </a:cubicBezTo>
                  <a:cubicBezTo>
                    <a:pt x="365054" y="0"/>
                    <a:pt x="470345" y="105290"/>
                    <a:pt x="470345" y="235172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371731D-788D-F4BC-0327-9EC928360EC2}"/>
                </a:ext>
              </a:extLst>
            </p:cNvPr>
            <p:cNvSpPr/>
            <p:nvPr/>
          </p:nvSpPr>
          <p:spPr>
            <a:xfrm>
              <a:off x="8284499" y="1651839"/>
              <a:ext cx="273367" cy="273367"/>
            </a:xfrm>
            <a:custGeom>
              <a:avLst/>
              <a:gdLst>
                <a:gd name="connsiteX0" fmla="*/ 273368 w 273367"/>
                <a:gd name="connsiteY0" fmla="*/ 136684 h 273367"/>
                <a:gd name="connsiteX1" fmla="*/ 136684 w 273367"/>
                <a:gd name="connsiteY1" fmla="*/ 273368 h 273367"/>
                <a:gd name="connsiteX2" fmla="*/ 0 w 273367"/>
                <a:gd name="connsiteY2" fmla="*/ 136684 h 273367"/>
                <a:gd name="connsiteX3" fmla="*/ 136684 w 273367"/>
                <a:gd name="connsiteY3" fmla="*/ 0 h 273367"/>
                <a:gd name="connsiteX4" fmla="*/ 273368 w 273367"/>
                <a:gd name="connsiteY4" fmla="*/ 136684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367" h="273367">
                  <a:moveTo>
                    <a:pt x="273368" y="136684"/>
                  </a:moveTo>
                  <a:cubicBezTo>
                    <a:pt x="273368" y="212172"/>
                    <a:pt x="212172" y="273368"/>
                    <a:pt x="136684" y="273368"/>
                  </a:cubicBezTo>
                  <a:cubicBezTo>
                    <a:pt x="61195" y="273368"/>
                    <a:pt x="0" y="212172"/>
                    <a:pt x="0" y="136684"/>
                  </a:cubicBezTo>
                  <a:cubicBezTo>
                    <a:pt x="0" y="61195"/>
                    <a:pt x="61195" y="0"/>
                    <a:pt x="136684" y="0"/>
                  </a:cubicBezTo>
                  <a:cubicBezTo>
                    <a:pt x="212172" y="0"/>
                    <a:pt x="273368" y="61195"/>
                    <a:pt x="273368" y="136684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0A75573-2879-58EA-914D-727925923C71}"/>
                </a:ext>
              </a:extLst>
            </p:cNvPr>
            <p:cNvSpPr/>
            <p:nvPr/>
          </p:nvSpPr>
          <p:spPr>
            <a:xfrm>
              <a:off x="8383082" y="1750422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CAE6E9"/>
                  </a:gs>
                </a:gsLst>
                <a:lin ang="21594000" scaled="0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EE6696F-C7CE-D771-EC5A-737B361212E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23719" y="955675"/>
            <a:ext cx="6996781" cy="4985341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6AE0406C-9CE3-1A7F-CC4F-4C5EF6A92A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 rtl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34" name="Date Placeholder 33">
            <a:extLst>
              <a:ext uri="{FF2B5EF4-FFF2-40B4-BE49-F238E27FC236}">
                <a16:creationId xmlns:a16="http://schemas.microsoft.com/office/drawing/2014/main" id="{D85C5DC0-1CF5-F5BA-CC98-CEC27987F15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pPr algn="r">
              <a:buClr>
                <a:srgbClr val="000000"/>
              </a:buClr>
              <a:buFont typeface="Arial"/>
              <a:buNone/>
              <a:defRPr/>
            </a:pPr>
            <a:r>
              <a:rPr lang="en-US" sz="900" kern="0">
                <a:solidFill>
                  <a:prstClr val="black">
                    <a:tint val="82000"/>
                  </a:prstClr>
                </a:solidFill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7CCC96B9-9941-0A8A-F540-39F7D19D04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pPr algn="ctr">
              <a:buClr>
                <a:srgbClr val="000000"/>
              </a:buClr>
              <a:buFont typeface="Arial"/>
              <a:buNone/>
              <a:defRPr/>
            </a:pPr>
            <a:r>
              <a:rPr lang="en-US" sz="900" kern="0">
                <a:solidFill>
                  <a:prstClr val="black">
                    <a:tint val="82000"/>
                  </a:prstClr>
                </a:solidFill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288A1D0C-25B3-7F5B-3D48-F622FB6EF0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algn="l">
              <a:buClr>
                <a:srgbClr val="000000"/>
              </a:buClr>
              <a:buFont typeface="Arial"/>
              <a:buNone/>
              <a:defRPr/>
            </a:pPr>
            <a:fld id="{16DA4D8A-707C-46E3-AE54-67BE14DE1600}" type="slidenum">
              <a:rPr lang="en-US" kern="0" smtClean="0">
                <a:solidFill>
                  <a:srgbClr val="09544F"/>
                </a:solidFill>
                <a:latin typeface="Poppins Light"/>
                <a:cs typeface="Arial"/>
                <a:sym typeface="Arial"/>
              </a:rPr>
              <a:pPr algn="l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en-US" kern="0">
              <a:solidFill>
                <a:srgbClr val="09544F"/>
              </a:solidFill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92708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90379C-0EAA-CA4A-53FC-E10BA36E5F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878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0379C-0EAA-CA4A-53FC-E10BA36E5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04C7D8A4-00D2-D1B8-6A8F-31D45ECD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8217" y="4006549"/>
            <a:ext cx="3421415" cy="1956609"/>
          </a:xfrm>
        </p:spPr>
        <p:txBody>
          <a:bodyPr>
            <a:normAutofit/>
          </a:bodyPr>
          <a:lstStyle>
            <a:lvl1pPr marL="173736" indent="-173736" rtl="0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97D9AD-07AF-71DC-A723-FFF8EF6AE93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654" y="4006548"/>
            <a:ext cx="3392891" cy="1956609"/>
          </a:xfrm>
        </p:spPr>
        <p:txBody>
          <a:bodyPr>
            <a:normAutofit/>
          </a:bodyPr>
          <a:lstStyle>
            <a:lvl1pPr marL="173736" indent="-173736" rtl="0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B52C24B-2BF2-D08F-FBC6-86C6C5165079}"/>
              </a:ext>
            </a:extLst>
          </p:cNvPr>
          <p:cNvGrpSpPr/>
          <p:nvPr userDrawn="1"/>
        </p:nvGrpSpPr>
        <p:grpSpPr>
          <a:xfrm>
            <a:off x="4230062" y="1844857"/>
            <a:ext cx="3721100" cy="4118300"/>
            <a:chOff x="4230062" y="1844857"/>
            <a:chExt cx="3721100" cy="419211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1675058-977C-7818-4E72-6853177166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30062" y="1844857"/>
              <a:ext cx="0" cy="4192118"/>
            </a:xfrm>
            <a:prstGeom prst="line">
              <a:avLst/>
            </a:prstGeom>
            <a:noFill/>
            <a:ln w="12700" cap="rnd">
              <a:solidFill>
                <a:srgbClr val="D0CB17"/>
              </a:solidFill>
              <a:prstDash val="solid"/>
              <a:miter/>
            </a:ln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F9F519F-845E-93C0-B216-633DAF92B2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51162" y="1844857"/>
              <a:ext cx="0" cy="4192118"/>
            </a:xfrm>
            <a:prstGeom prst="line">
              <a:avLst/>
            </a:prstGeom>
            <a:noFill/>
            <a:ln w="12700" cap="rnd">
              <a:solidFill>
                <a:srgbClr val="D0CB17"/>
              </a:solidFill>
              <a:prstDash val="solid"/>
              <a:miter/>
            </a:ln>
          </p:spPr>
        </p:cxnSp>
      </p:grpSp>
      <p:grpSp>
        <p:nvGrpSpPr>
          <p:cNvPr id="17" name="Graphic 10">
            <a:extLst>
              <a:ext uri="{FF2B5EF4-FFF2-40B4-BE49-F238E27FC236}">
                <a16:creationId xmlns:a16="http://schemas.microsoft.com/office/drawing/2014/main" id="{4A349429-EB9F-EE58-58A0-86A3B77C123A}"/>
              </a:ext>
            </a:extLst>
          </p:cNvPr>
          <p:cNvGrpSpPr/>
          <p:nvPr userDrawn="1"/>
        </p:nvGrpSpPr>
        <p:grpSpPr>
          <a:xfrm rot="3186376">
            <a:off x="9266505" y="702603"/>
            <a:ext cx="5623058" cy="2811529"/>
            <a:chOff x="6919912" y="3216683"/>
            <a:chExt cx="2628900" cy="1314450"/>
          </a:xfrm>
          <a:noFill/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5AF1EA-00E4-C6AE-481E-406A986B9805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2614C77-3C1A-F4C7-466A-407000AD05D5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62A8245-6E75-8964-1549-0D932F23D522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E1BB08B-6EA5-DF6D-B769-D0754A34B109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28E4BF4-179D-0AE7-81D5-FE1745609D3D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9AAE41E-1B9C-B5F9-A148-081177B80D46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001806A-C44B-2510-C062-3692644245A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3A5D31D-3104-B3C6-FE9B-AC04FC452416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7AF714F-D5F6-0910-3412-DE9DA201F806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5F3F65D-42B0-D4D7-AABD-BD6D462F7AE0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7A1ED60-FDAC-1D8E-8A43-D3D3C259A376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7FBC2CD-E8FF-E91C-66D3-A74AD25E88B7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0897C4D-7E38-673C-0645-53DC870A56B2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34DADCC-DC79-FE7B-0E69-2FA482F3BDEB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76000">
                    <a:schemeClr val="bg1"/>
                  </a:gs>
                </a:gsLst>
                <a:lin ang="36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97DD9CE0-3FC8-4940-4AE2-F3780B0A73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7888" y="4006548"/>
            <a:ext cx="3442612" cy="1956609"/>
          </a:xfrm>
        </p:spPr>
        <p:txBody>
          <a:bodyPr>
            <a:normAutofit/>
          </a:bodyPr>
          <a:lstStyle>
            <a:lvl1pPr marL="173736" indent="-173736" rtl="0">
              <a:lnSpc>
                <a:spcPct val="100000"/>
              </a:lnSpc>
              <a:defRPr sz="1400"/>
            </a:lvl1pPr>
          </a:lstStyle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 </a:t>
            </a:r>
          </a:p>
          <a:p>
            <a:pPr lvl="0"/>
            <a:r>
              <a:rPr lang="en-US"/>
              <a:t>Text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04588A37-2D52-345A-C535-1D25835667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 rtl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5F69D864-6F73-DDD9-645B-552EA4F524C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875EC4C2-B91C-45CD-B447-D099F93DF8FF}" type="datetimeFigureOut">
              <a:rPr lang="en-US" smtClean="0"/>
              <a:pPr/>
              <a:t>5/4/2025</a:t>
            </a:fld>
            <a:endParaRPr lang="en-US"/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395E2FCE-97B2-2551-65CA-867E569ABC0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Footer</a:t>
            </a: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64EC907F-85EF-F010-BC0D-EF7059873BF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16DA4D8A-707C-46E3-AE54-67BE14DE16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ACEB0CB-FDBD-41C2-37F9-245279AE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432" y="386291"/>
            <a:ext cx="11032068" cy="898582"/>
          </a:xfrm>
        </p:spPr>
        <p:txBody>
          <a:bodyPr vert="horz">
            <a:noAutofit/>
          </a:bodyPr>
          <a:lstStyle>
            <a:lvl1pPr rtl="0"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4D873C8-0FFC-9081-B8F5-8FD0924039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432" y="1347443"/>
            <a:ext cx="3440113" cy="463550"/>
          </a:xfrm>
        </p:spPr>
        <p:txBody>
          <a:bodyPr>
            <a:normAutofit/>
          </a:bodyPr>
          <a:lstStyle>
            <a:lvl1pPr marL="0" indent="0" rtl="0">
              <a:buNone/>
              <a:defRPr sz="2000">
                <a:solidFill>
                  <a:srgbClr val="1FA29C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32253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69529AFA-5402-DC61-60C6-A422790EA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972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529AFA-5402-DC61-60C6-A422790EA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470232-B767-0543-2C39-95DC42464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 rtl="0">
              <a:defRPr sz="3200"/>
            </a:lvl1pPr>
          </a:lstStyle>
          <a:p>
            <a:r>
              <a:rPr lang="en-US"/>
              <a:t>2 LINE TITLE HERE</a:t>
            </a:r>
            <a:br>
              <a:rPr lang="en-US"/>
            </a:br>
            <a:r>
              <a:rPr lang="en-US"/>
              <a:t>AND CONTENT</a:t>
            </a:r>
          </a:p>
        </p:txBody>
      </p:sp>
      <p:grpSp>
        <p:nvGrpSpPr>
          <p:cNvPr id="4" name="Graphic 10">
            <a:extLst>
              <a:ext uri="{FF2B5EF4-FFF2-40B4-BE49-F238E27FC236}">
                <a16:creationId xmlns:a16="http://schemas.microsoft.com/office/drawing/2014/main" id="{0A96AC4D-699A-A566-51CC-9BA10EC2C069}"/>
              </a:ext>
            </a:extLst>
          </p:cNvPr>
          <p:cNvGrpSpPr/>
          <p:nvPr userDrawn="1"/>
        </p:nvGrpSpPr>
        <p:grpSpPr>
          <a:xfrm rot="19800000">
            <a:off x="8826358" y="-1872306"/>
            <a:ext cx="5623058" cy="2811529"/>
            <a:chOff x="6919912" y="3216683"/>
            <a:chExt cx="2628900" cy="1314450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4FD7618-50EA-F112-2FD5-1E52276623C6}"/>
                </a:ext>
              </a:extLst>
            </p:cNvPr>
            <p:cNvSpPr/>
            <p:nvPr/>
          </p:nvSpPr>
          <p:spPr>
            <a:xfrm>
              <a:off x="6919912" y="3216683"/>
              <a:ext cx="2628900" cy="1314450"/>
            </a:xfrm>
            <a:custGeom>
              <a:avLst/>
              <a:gdLst>
                <a:gd name="connsiteX0" fmla="*/ 0 w 2628900"/>
                <a:gd name="connsiteY0" fmla="*/ 0 h 1314450"/>
                <a:gd name="connsiteX1" fmla="*/ 1314450 w 2628900"/>
                <a:gd name="connsiteY1" fmla="*/ 1314450 h 1314450"/>
                <a:gd name="connsiteX2" fmla="*/ 2628900 w 2628900"/>
                <a:gd name="connsiteY2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00" h="1314450">
                  <a:moveTo>
                    <a:pt x="0" y="0"/>
                  </a:moveTo>
                  <a:cubicBezTo>
                    <a:pt x="0" y="725996"/>
                    <a:pt x="588455" y="1314450"/>
                    <a:pt x="1314450" y="1314450"/>
                  </a:cubicBezTo>
                  <a:cubicBezTo>
                    <a:pt x="2040445" y="1314450"/>
                    <a:pt x="2628900" y="725996"/>
                    <a:pt x="2628900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56C6E98-914C-1B71-20D4-D66D5292289F}"/>
                </a:ext>
              </a:extLst>
            </p:cNvPr>
            <p:cNvSpPr/>
            <p:nvPr/>
          </p:nvSpPr>
          <p:spPr>
            <a:xfrm>
              <a:off x="7018115" y="3216683"/>
              <a:ext cx="2432494" cy="1216247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D652EC9-1367-1B16-81D3-9AF51FB82608}"/>
                </a:ext>
              </a:extLst>
            </p:cNvPr>
            <p:cNvSpPr/>
            <p:nvPr/>
          </p:nvSpPr>
          <p:spPr>
            <a:xfrm>
              <a:off x="7116317" y="3216683"/>
              <a:ext cx="2236089" cy="111804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5037E4F-E5DC-CED9-567E-99D2F8B0D5E8}"/>
                </a:ext>
              </a:extLst>
            </p:cNvPr>
            <p:cNvSpPr/>
            <p:nvPr/>
          </p:nvSpPr>
          <p:spPr>
            <a:xfrm>
              <a:off x="7214520" y="3216683"/>
              <a:ext cx="2039683" cy="1019841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BAC9144-8617-B775-5E63-DF09ECCC588A}"/>
                </a:ext>
              </a:extLst>
            </p:cNvPr>
            <p:cNvSpPr/>
            <p:nvPr/>
          </p:nvSpPr>
          <p:spPr>
            <a:xfrm>
              <a:off x="7312723" y="3216683"/>
              <a:ext cx="1843278" cy="921639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B9AE962-1881-E625-EF01-2D775B61E87B}"/>
                </a:ext>
              </a:extLst>
            </p:cNvPr>
            <p:cNvSpPr/>
            <p:nvPr/>
          </p:nvSpPr>
          <p:spPr>
            <a:xfrm>
              <a:off x="7410831" y="3216683"/>
              <a:ext cx="1647063" cy="823531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C19903D-A38C-DACB-5A2A-37EA9C9EACF9}"/>
                </a:ext>
              </a:extLst>
            </p:cNvPr>
            <p:cNvSpPr/>
            <p:nvPr/>
          </p:nvSpPr>
          <p:spPr>
            <a:xfrm>
              <a:off x="7509033" y="3216683"/>
              <a:ext cx="1450657" cy="72532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B98E8FA-75A7-E8D1-1C45-FC543A76D943}"/>
                </a:ext>
              </a:extLst>
            </p:cNvPr>
            <p:cNvSpPr/>
            <p:nvPr/>
          </p:nvSpPr>
          <p:spPr>
            <a:xfrm>
              <a:off x="7607236" y="3216683"/>
              <a:ext cx="1254252" cy="627125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7D58EEA-2929-D6A7-AD61-DBDA71311DB4}"/>
                </a:ext>
              </a:extLst>
            </p:cNvPr>
            <p:cNvSpPr/>
            <p:nvPr/>
          </p:nvSpPr>
          <p:spPr>
            <a:xfrm>
              <a:off x="7705439" y="3216683"/>
              <a:ext cx="1057846" cy="528923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75ABF8-7DC2-EB1E-100C-AD11BE1DC28C}"/>
                </a:ext>
              </a:extLst>
            </p:cNvPr>
            <p:cNvSpPr/>
            <p:nvPr/>
          </p:nvSpPr>
          <p:spPr>
            <a:xfrm>
              <a:off x="7803641" y="3216683"/>
              <a:ext cx="861441" cy="430720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1F9B428-891F-2E9E-47DA-2E6F4750AF5A}"/>
                </a:ext>
              </a:extLst>
            </p:cNvPr>
            <p:cNvSpPr/>
            <p:nvPr/>
          </p:nvSpPr>
          <p:spPr>
            <a:xfrm>
              <a:off x="7901844" y="3216683"/>
              <a:ext cx="665035" cy="332517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6FF15E0-C04D-F81A-30B3-3091DFFF6A98}"/>
                </a:ext>
              </a:extLst>
            </p:cNvPr>
            <p:cNvSpPr/>
            <p:nvPr/>
          </p:nvSpPr>
          <p:spPr>
            <a:xfrm>
              <a:off x="8000047" y="3216683"/>
              <a:ext cx="468630" cy="234315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8B6E9D5-6E9E-707C-46AE-3F95A7EBDB54}"/>
                </a:ext>
              </a:extLst>
            </p:cNvPr>
            <p:cNvSpPr/>
            <p:nvPr/>
          </p:nvSpPr>
          <p:spPr>
            <a:xfrm>
              <a:off x="8098250" y="3216683"/>
              <a:ext cx="272224" cy="136112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7C67E35-D2A9-3E22-4365-F5C2FDF6AFAF}"/>
                </a:ext>
              </a:extLst>
            </p:cNvPr>
            <p:cNvSpPr/>
            <p:nvPr/>
          </p:nvSpPr>
          <p:spPr>
            <a:xfrm>
              <a:off x="8196357" y="3216683"/>
              <a:ext cx="76009" cy="38004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solidFill>
                <a:srgbClr val="CAE6E9">
                  <a:alpha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1" name="Text Placeholder 31">
            <a:extLst>
              <a:ext uri="{FF2B5EF4-FFF2-40B4-BE49-F238E27FC236}">
                <a16:creationId xmlns:a16="http://schemas.microsoft.com/office/drawing/2014/main" id="{5370CABD-40CA-A00F-5112-9B139957AC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799" y="6115361"/>
            <a:ext cx="6698325" cy="592154"/>
          </a:xfrm>
        </p:spPr>
        <p:txBody>
          <a:bodyPr anchor="b">
            <a:normAutofit/>
          </a:bodyPr>
          <a:lstStyle>
            <a:lvl1pPr marL="0" indent="0" rtl="0">
              <a:buFontTx/>
              <a:buNone/>
              <a:defRPr sz="800"/>
            </a:lvl1pPr>
          </a:lstStyle>
          <a:p>
            <a:pPr lvl="0"/>
            <a:r>
              <a:rPr lang="en-US"/>
              <a:t>Footnote: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1264C051-5586-2197-028F-E8E9F9D52B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pPr algn="r">
              <a:buClr>
                <a:srgbClr val="000000"/>
              </a:buClr>
              <a:buFont typeface="Arial"/>
              <a:buNone/>
              <a:defRPr/>
            </a:pPr>
            <a:r>
              <a:rPr lang="en-US" sz="900" kern="0">
                <a:solidFill>
                  <a:prstClr val="black">
                    <a:tint val="82000"/>
                  </a:prstClr>
                </a:solidFill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91131EDC-D8FE-F647-6038-FEB6A0B620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algn="ctr">
              <a:buClr>
                <a:srgbClr val="000000"/>
              </a:buClr>
              <a:buFont typeface="Arial"/>
              <a:buNone/>
              <a:defRPr/>
            </a:pPr>
            <a:r>
              <a:rPr lang="en-US" sz="900" kern="0">
                <a:solidFill>
                  <a:prstClr val="black">
                    <a:tint val="82000"/>
                  </a:prstClr>
                </a:solidFill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D3285C21-018F-12E8-531D-537E6410D14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l">
              <a:buClr>
                <a:srgbClr val="000000"/>
              </a:buClr>
              <a:buFont typeface="Arial"/>
              <a:buNone/>
              <a:defRPr/>
            </a:pPr>
            <a:fld id="{16DA4D8A-707C-46E3-AE54-67BE14DE1600}" type="slidenum">
              <a:rPr lang="en-US" kern="0" smtClean="0">
                <a:solidFill>
                  <a:srgbClr val="09544F"/>
                </a:solidFill>
                <a:latin typeface="Poppins Light"/>
                <a:cs typeface="Arial"/>
                <a:sym typeface="Arial"/>
              </a:rPr>
              <a:pPr algn="l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en-US" kern="0">
              <a:solidFill>
                <a:srgbClr val="09544F"/>
              </a:solidFill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62985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0C6424-B61B-7EA9-A452-02D13C1A8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45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0C6424-B61B-7EA9-A452-02D13C1A8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BEEE0BE-EF4E-4FC8-B4D4-00B094713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26484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4CDBED0-34F0-F795-64B7-B3FD806741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29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CDBED0-34F0-F795-64B7-B3FD806741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2219BD-79DC-40DD-9359-73DA860D61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26" y="1450180"/>
            <a:ext cx="11159323" cy="449977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>
              <a:defRPr/>
            </a:lvl6pPr>
            <a:lvl7pPr marL="288000" indent="-288000">
              <a:lnSpc>
                <a:spcPts val="2200"/>
              </a:lnSpc>
              <a:spcBef>
                <a:spcPts val="0"/>
              </a:spcBef>
              <a:spcAft>
                <a:spcPts val="2200"/>
              </a:spcAft>
              <a:buClr>
                <a:schemeClr val="accent2"/>
              </a:buClr>
              <a:buFont typeface="+mj-lt"/>
              <a:buAutoNum type="arabicPeriod"/>
              <a:defRPr sz="1700"/>
            </a:lvl7pPr>
            <a:lvl8pPr marL="288000" indent="-288000">
              <a:buFont typeface="HK Grotesk" panose="00000500000000000000" pitchFamily="2" charset="0"/>
              <a:buChar char="→"/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BB3382-57ED-433A-BB98-20D35536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2670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tags" Target="../tags/tag1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slideLayout" Target="../slideLayouts/slideLayout84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49" Type="http://schemas.openxmlformats.org/officeDocument/2006/relationships/image" Target="../media/image4.emf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slideLayout" Target="../slideLayouts/slideLayout8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slideLayout" Target="../slideLayouts/slideLayout82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theme" Target="../theme/theme3.xml"/><Relationship Id="rId20" Type="http://schemas.openxmlformats.org/officeDocument/2006/relationships/slideLayout" Target="../slideLayouts/slideLayout59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7F0490-77E7-D624-B836-56BC383F7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431" y="386291"/>
            <a:ext cx="11015136" cy="898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ONE LINE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70356C-984D-5E83-C1C1-AE094DE30C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8432" y="1536699"/>
            <a:ext cx="11015136" cy="4334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C7745AA-A44D-B15F-6E28-5B2E87C17AC7}"/>
              </a:ext>
            </a:extLst>
          </p:cNvPr>
          <p:cNvGrpSpPr/>
          <p:nvPr userDrawn="1"/>
        </p:nvGrpSpPr>
        <p:grpSpPr>
          <a:xfrm>
            <a:off x="-789370" y="0"/>
            <a:ext cx="565960" cy="2339030"/>
            <a:chOff x="-1231641" y="0"/>
            <a:chExt cx="1002632" cy="414373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E074977-1DC0-5CDE-BD08-E9C3B7102FAB}"/>
                </a:ext>
              </a:extLst>
            </p:cNvPr>
            <p:cNvSpPr>
              <a:spLocks/>
            </p:cNvSpPr>
            <p:nvPr/>
          </p:nvSpPr>
          <p:spPr>
            <a:xfrm>
              <a:off x="-1221328" y="1189617"/>
              <a:ext cx="469232" cy="469232"/>
            </a:xfrm>
            <a:prstGeom prst="ellipse">
              <a:avLst/>
            </a:prstGeom>
            <a:solidFill>
              <a:srgbClr val="1FA29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22F0DFE-4AC3-168A-71D2-1E7A0B29438F}"/>
                </a:ext>
              </a:extLst>
            </p:cNvPr>
            <p:cNvSpPr/>
            <p:nvPr/>
          </p:nvSpPr>
          <p:spPr>
            <a:xfrm>
              <a:off x="-1221328" y="0"/>
              <a:ext cx="469232" cy="469232"/>
            </a:xfrm>
            <a:prstGeom prst="ellipse">
              <a:avLst/>
            </a:prstGeom>
            <a:solidFill>
              <a:srgbClr val="0954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F7734CD-313D-2FBC-1862-CD6F630011FA}"/>
                </a:ext>
              </a:extLst>
            </p:cNvPr>
            <p:cNvSpPr>
              <a:spLocks/>
            </p:cNvSpPr>
            <p:nvPr/>
          </p:nvSpPr>
          <p:spPr>
            <a:xfrm>
              <a:off x="-1221328" y="562947"/>
              <a:ext cx="469232" cy="469232"/>
            </a:xfrm>
            <a:prstGeom prst="ellipse">
              <a:avLst/>
            </a:prstGeom>
            <a:solidFill>
              <a:srgbClr val="0C71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150D80C-9B4B-A6ED-8C4D-400381FEC463}"/>
                </a:ext>
              </a:extLst>
            </p:cNvPr>
            <p:cNvSpPr>
              <a:spLocks/>
            </p:cNvSpPr>
            <p:nvPr/>
          </p:nvSpPr>
          <p:spPr>
            <a:xfrm>
              <a:off x="-1231641" y="1769502"/>
              <a:ext cx="469232" cy="469232"/>
            </a:xfrm>
            <a:prstGeom prst="ellipse">
              <a:avLst/>
            </a:prstGeom>
            <a:solidFill>
              <a:srgbClr val="D0CB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DCAD8EC-BCC5-80FC-DBB8-954B2685B397}"/>
                </a:ext>
              </a:extLst>
            </p:cNvPr>
            <p:cNvSpPr>
              <a:spLocks/>
            </p:cNvSpPr>
            <p:nvPr/>
          </p:nvSpPr>
          <p:spPr>
            <a:xfrm>
              <a:off x="-1231641" y="2379102"/>
              <a:ext cx="469232" cy="469232"/>
            </a:xfrm>
            <a:prstGeom prst="ellipse">
              <a:avLst/>
            </a:prstGeom>
            <a:solidFill>
              <a:srgbClr val="21568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BE07340-8B97-0B5E-C107-D2ADDCEB3D47}"/>
                </a:ext>
              </a:extLst>
            </p:cNvPr>
            <p:cNvSpPr>
              <a:spLocks/>
            </p:cNvSpPr>
            <p:nvPr/>
          </p:nvSpPr>
          <p:spPr>
            <a:xfrm>
              <a:off x="-1231641" y="2988702"/>
              <a:ext cx="469232" cy="469232"/>
            </a:xfrm>
            <a:prstGeom prst="ellipse">
              <a:avLst/>
            </a:prstGeom>
            <a:solidFill>
              <a:srgbClr val="1A90C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7372D53-9665-A537-4652-A19E9B5C73BD}"/>
                </a:ext>
              </a:extLst>
            </p:cNvPr>
            <p:cNvSpPr>
              <a:spLocks/>
            </p:cNvSpPr>
            <p:nvPr/>
          </p:nvSpPr>
          <p:spPr>
            <a:xfrm>
              <a:off x="-1231641" y="3674502"/>
              <a:ext cx="469232" cy="469232"/>
            </a:xfrm>
            <a:prstGeom prst="ellipse">
              <a:avLst/>
            </a:prstGeom>
            <a:solidFill>
              <a:srgbClr val="CAE6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5998226-6F2F-1E40-FEA1-9C10178AFDBC}"/>
                </a:ext>
              </a:extLst>
            </p:cNvPr>
            <p:cNvSpPr>
              <a:spLocks/>
            </p:cNvSpPr>
            <p:nvPr/>
          </p:nvSpPr>
          <p:spPr>
            <a:xfrm>
              <a:off x="-718457" y="262608"/>
              <a:ext cx="469232" cy="469232"/>
            </a:xfrm>
            <a:prstGeom prst="ellipse">
              <a:avLst/>
            </a:prstGeom>
            <a:solidFill>
              <a:srgbClr val="D8A8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BD1FF09-AD2F-63D8-279B-452C331D664C}"/>
                </a:ext>
              </a:extLst>
            </p:cNvPr>
            <p:cNvSpPr>
              <a:spLocks/>
            </p:cNvSpPr>
            <p:nvPr/>
          </p:nvSpPr>
          <p:spPr>
            <a:xfrm>
              <a:off x="-718457" y="967069"/>
              <a:ext cx="469232" cy="469232"/>
            </a:xfrm>
            <a:prstGeom prst="ellipse">
              <a:avLst/>
            </a:prstGeom>
            <a:solidFill>
              <a:srgbClr val="7A1F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0D7643-BC44-9720-5684-137F1971C713}"/>
                </a:ext>
              </a:extLst>
            </p:cNvPr>
            <p:cNvSpPr>
              <a:spLocks/>
            </p:cNvSpPr>
            <p:nvPr/>
          </p:nvSpPr>
          <p:spPr>
            <a:xfrm>
              <a:off x="-698241" y="1540902"/>
              <a:ext cx="469232" cy="469232"/>
            </a:xfrm>
            <a:prstGeom prst="ellipse">
              <a:avLst/>
            </a:prstGeom>
            <a:solidFill>
              <a:srgbClr val="BD509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5BA8AD3-4B41-C9A0-2860-9B864F804E4E}"/>
                </a:ext>
              </a:extLst>
            </p:cNvPr>
            <p:cNvSpPr>
              <a:spLocks/>
            </p:cNvSpPr>
            <p:nvPr/>
          </p:nvSpPr>
          <p:spPr>
            <a:xfrm>
              <a:off x="-698241" y="2150502"/>
              <a:ext cx="469232" cy="469232"/>
            </a:xfrm>
            <a:prstGeom prst="ellipse">
              <a:avLst/>
            </a:prstGeom>
            <a:solidFill>
              <a:srgbClr val="FF646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88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EB1655B-C79B-8116-2CB4-CEF3B069E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08723" y="6345710"/>
            <a:ext cx="75448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10/14/2024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807E9378-9A91-F546-BE75-A0775D9B7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09878" y="6345710"/>
            <a:ext cx="325241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t>Footer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3C91ACF9-C0BB-B30F-C88C-36CE7946E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600" y="6345710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rgbClr val="09544F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6DA4D8A-707C-46E3-AE54-67BE14DE1600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9544F"/>
                </a:solidFill>
                <a:effectLst/>
                <a:uLnTx/>
                <a:uFillTx/>
                <a:latin typeface="Poppins Light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9544F"/>
              </a:solidFill>
              <a:effectLst/>
              <a:uLnTx/>
              <a:uFillTx/>
              <a:latin typeface="Poppins Ligh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5146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9544F"/>
          </a:solidFill>
          <a:latin typeface="+mj-lt"/>
          <a:ea typeface="+mj-ea"/>
          <a:cs typeface="+mj-cs"/>
        </a:defRPr>
      </a:lvl1pPr>
    </p:titleStyle>
    <p:bodyStyle>
      <a:lvl1pPr marL="115888" indent="-115888" algn="l" defTabSz="914400" rtl="0" eaLnBrk="1" latinLnBrk="0" hangingPunct="1">
        <a:lnSpc>
          <a:spcPct val="90000"/>
        </a:lnSpc>
        <a:spcBef>
          <a:spcPts val="1000"/>
        </a:spcBef>
        <a:buClr>
          <a:srgbClr val="0C716B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C716B"/>
        </a:buClr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C716B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C716B"/>
        </a:buClr>
        <a:buFont typeface="Poppins Light" panose="000004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44">
          <p15:clr>
            <a:srgbClr val="F26B43"/>
          </p15:clr>
        </p15:guide>
        <p15:guide id="4" pos="7536">
          <p15:clr>
            <a:srgbClr val="F26B43"/>
          </p15:clr>
        </p15:guide>
        <p15:guide id="5" orient="horz" pos="144">
          <p15:clr>
            <a:srgbClr val="F26B43"/>
          </p15:clr>
        </p15:guide>
        <p15:guide id="7" orient="horz" pos="4176">
          <p15:clr>
            <a:srgbClr val="F26B43"/>
          </p15:clr>
        </p15:guide>
        <p15:guide id="8" pos="432">
          <p15:clr>
            <a:srgbClr val="F26B43"/>
          </p15:clr>
        </p15:guide>
        <p15:guide id="9" orient="horz" pos="602">
          <p15:clr>
            <a:srgbClr val="F26B43"/>
          </p15:clr>
        </p15:guide>
        <p15:guide id="10" pos="7248">
          <p15:clr>
            <a:srgbClr val="F26B43"/>
          </p15:clr>
        </p15:guide>
        <p15:guide id="11" orient="horz" pos="3946">
          <p15:clr>
            <a:srgbClr val="F26B43"/>
          </p15:clr>
        </p15:guide>
        <p15:guide id="12" orient="horz" pos="36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5961BD3-597C-E987-3E97-716A3A88BD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30693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4" progId="TCLayout.ActiveDocument.1">
                  <p:embed/>
                </p:oleObj>
              </mc:Choice>
              <mc:Fallback>
                <p:oleObj name="think-cell Slide" r:id="rId48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961BD3-597C-E987-3E97-716A3A88B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CE45C8-4099-4C67-AA52-3BE6004EF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11386800" cy="810000"/>
          </a:xfrm>
          <a:prstGeom prst="rect">
            <a:avLst/>
          </a:prstGeom>
        </p:spPr>
        <p:txBody>
          <a:bodyPr vert="horz" lIns="0" tIns="90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2278800"/>
            <a:ext cx="11392238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A521C-E642-40E3-82FB-509709D9F2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1829" y="6452004"/>
            <a:ext cx="2743200" cy="2376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r" rtl="0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F1F962-6FCF-4ED9-AB1A-FC8E17859AF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241D71E-EC58-DA01-D93B-8956B8A31B9F}"/>
              </a:ext>
            </a:extLst>
          </p:cNvPr>
          <p:cNvSpPr txBox="1">
            <a:spLocks/>
          </p:cNvSpPr>
          <p:nvPr userDrawn="1"/>
        </p:nvSpPr>
        <p:spPr>
          <a:xfrm>
            <a:off x="196157" y="6492240"/>
            <a:ext cx="390095" cy="11925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4906CA63-061B-4D4A-AA22-E64EC1EA4280}" type="slidenum">
              <a:rPr lang="en-US" sz="600" b="0" smtClean="0">
                <a:solidFill>
                  <a:schemeClr val="bg1">
                    <a:lumMod val="50000"/>
                  </a:schemeClr>
                </a:solidFill>
                <a:latin typeface="+mn-lt"/>
                <a:cs typeface="Arial"/>
              </a:rPr>
              <a:pPr rtl="0"/>
              <a:t>‹#›</a:t>
            </a:fld>
            <a:r>
              <a:rPr lang="en-US" sz="960" b="0">
                <a:solidFill>
                  <a:schemeClr val="bg1">
                    <a:lumMod val="50000"/>
                  </a:schemeClr>
                </a:solidFill>
                <a:latin typeface="+mn-lt"/>
                <a:cs typeface="Arial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25713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17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417"/>
        </a:spcAft>
        <a:buClr>
          <a:schemeClr val="tx2"/>
        </a:buClr>
        <a:buSzPct val="110000"/>
        <a:buFont typeface="Poppins" panose="00000500000000000000" pitchFamily="2" charset="0"/>
        <a:buChar char="•"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417"/>
        </a:spcAft>
        <a:buClr>
          <a:schemeClr val="tx2"/>
        </a:buClr>
        <a:buSzPct val="110000"/>
        <a:buFont typeface="Poppins" panose="00000500000000000000" pitchFamily="2" charset="0"/>
        <a:buChar char="•"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417"/>
        </a:spcAft>
        <a:buClr>
          <a:schemeClr val="tx2"/>
        </a:buClr>
        <a:buSzPct val="110000"/>
        <a:buFont typeface="Poppins" panose="00000500000000000000" pitchFamily="2" charset="0"/>
        <a:buChar char="•"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6">
          <p15:clr>
            <a:srgbClr val="F26B43"/>
          </p15:clr>
        </p15:guide>
        <p15:guide id="2" pos="7437">
          <p15:clr>
            <a:srgbClr val="F26B43"/>
          </p15:clr>
        </p15:guide>
        <p15:guide id="3" pos="257">
          <p15:clr>
            <a:srgbClr val="F26B43"/>
          </p15:clr>
        </p15:guide>
        <p15:guide id="4" pos="853">
          <p15:clr>
            <a:srgbClr val="F26B43"/>
          </p15:clr>
        </p15:guide>
        <p15:guide id="5" pos="1354">
          <p15:clr>
            <a:srgbClr val="F26B43"/>
          </p15:clr>
        </p15:guide>
        <p15:guide id="6" pos="1466">
          <p15:clr>
            <a:srgbClr val="F26B43"/>
          </p15:clr>
        </p15:guide>
        <p15:guide id="7" pos="1967">
          <p15:clr>
            <a:srgbClr val="F26B43"/>
          </p15:clr>
        </p15:guide>
        <p15:guide id="8" pos="2072">
          <p15:clr>
            <a:srgbClr val="F26B43"/>
          </p15:clr>
        </p15:guide>
        <p15:guide id="9" pos="2566">
          <p15:clr>
            <a:srgbClr val="F26B43"/>
          </p15:clr>
        </p15:guide>
        <p15:guide id="10" pos="2678">
          <p15:clr>
            <a:srgbClr val="F26B43"/>
          </p15:clr>
        </p15:guide>
        <p15:guide id="11" pos="3182">
          <p15:clr>
            <a:srgbClr val="F26B43"/>
          </p15:clr>
        </p15:guide>
        <p15:guide id="12" pos="3284">
          <p15:clr>
            <a:srgbClr val="F26B43"/>
          </p15:clr>
        </p15:guide>
        <p15:guide id="13" pos="3785">
          <p15:clr>
            <a:srgbClr val="F26B43"/>
          </p15:clr>
        </p15:guide>
        <p15:guide id="14" pos="3890">
          <p15:clr>
            <a:srgbClr val="F26B43"/>
          </p15:clr>
        </p15:guide>
        <p15:guide id="15" pos="4391">
          <p15:clr>
            <a:srgbClr val="F26B43"/>
          </p15:clr>
        </p15:guide>
        <p15:guide id="16" pos="4496">
          <p15:clr>
            <a:srgbClr val="F26B43"/>
          </p15:clr>
        </p15:guide>
        <p15:guide id="17" pos="4997">
          <p15:clr>
            <a:srgbClr val="F26B43"/>
          </p15:clr>
        </p15:guide>
        <p15:guide id="18" pos="5102">
          <p15:clr>
            <a:srgbClr val="F26B43"/>
          </p15:clr>
        </p15:guide>
        <p15:guide id="19" pos="5610">
          <p15:clr>
            <a:srgbClr val="F26B43"/>
          </p15:clr>
        </p15:guide>
        <p15:guide id="20" pos="5700">
          <p15:clr>
            <a:srgbClr val="F26B43"/>
          </p15:clr>
        </p15:guide>
        <p15:guide id="21" pos="6216">
          <p15:clr>
            <a:srgbClr val="F26B43"/>
          </p15:clr>
        </p15:guide>
        <p15:guide id="22" pos="6314">
          <p15:clr>
            <a:srgbClr val="F26B43"/>
          </p15:clr>
        </p15:guide>
        <p15:guide id="23" pos="6815">
          <p15:clr>
            <a:srgbClr val="F26B43"/>
          </p15:clr>
        </p15:guide>
        <p15:guide id="24" pos="6919">
          <p15:clr>
            <a:srgbClr val="F26B43"/>
          </p15:clr>
        </p15:guide>
        <p15:guide id="25" orient="horz" pos="254">
          <p15:clr>
            <a:srgbClr val="F26B43"/>
          </p15:clr>
        </p15:guide>
        <p15:guide id="26" orient="horz" pos="546">
          <p15:clr>
            <a:srgbClr val="F26B43"/>
          </p15:clr>
        </p15:guide>
        <p15:guide id="28" orient="horz" pos="4062">
          <p15:clr>
            <a:srgbClr val="F26B43"/>
          </p15:clr>
        </p15:guide>
        <p15:guide id="29" orient="horz" pos="643">
          <p15:clr>
            <a:srgbClr val="F26B43"/>
          </p15:clr>
        </p15:guide>
        <p15:guide id="30" orient="horz" pos="935">
          <p15:clr>
            <a:srgbClr val="F26B43"/>
          </p15:clr>
        </p15:guide>
        <p15:guide id="31" orient="horz" pos="1032">
          <p15:clr>
            <a:srgbClr val="F26B43"/>
          </p15:clr>
        </p15:guide>
        <p15:guide id="32" orient="horz" pos="1429">
          <p15:clr>
            <a:srgbClr val="F26B43"/>
          </p15:clr>
        </p15:guide>
        <p15:guide id="33" orient="horz" pos="1721">
          <p15:clr>
            <a:srgbClr val="F26B43"/>
          </p15:clr>
        </p15:guide>
        <p15:guide id="34" orient="horz" pos="1818">
          <p15:clr>
            <a:srgbClr val="F26B43"/>
          </p15:clr>
        </p15:guide>
        <p15:guide id="35" orient="horz" pos="2110">
          <p15:clr>
            <a:srgbClr val="F26B43"/>
          </p15:clr>
        </p15:guide>
        <p15:guide id="36" orient="horz" pos="2207">
          <p15:clr>
            <a:srgbClr val="F26B43"/>
          </p15:clr>
        </p15:guide>
        <p15:guide id="37" orient="horz" pos="2498">
          <p15:clr>
            <a:srgbClr val="F26B43"/>
          </p15:clr>
        </p15:guide>
        <p15:guide id="38" orient="horz" pos="2596">
          <p15:clr>
            <a:srgbClr val="F26B43"/>
          </p15:clr>
        </p15:guide>
        <p15:guide id="39" orient="horz" pos="2895">
          <p15:clr>
            <a:srgbClr val="F26B43"/>
          </p15:clr>
        </p15:guide>
        <p15:guide id="40" orient="horz" pos="2992">
          <p15:clr>
            <a:srgbClr val="F26B43"/>
          </p15:clr>
        </p15:guide>
        <p15:guide id="41" orient="horz" pos="3284">
          <p15:clr>
            <a:srgbClr val="F26B43"/>
          </p15:clr>
        </p15:guide>
        <p15:guide id="42" orient="horz" pos="3381">
          <p15:clr>
            <a:srgbClr val="F26B43"/>
          </p15:clr>
        </p15:guide>
        <p15:guide id="43" orient="horz" pos="3673">
          <p15:clr>
            <a:srgbClr val="F26B43"/>
          </p15:clr>
        </p15:guide>
        <p15:guide id="44" orient="horz" pos="3770">
          <p15:clr>
            <a:srgbClr val="F26B43"/>
          </p15:clr>
        </p15:guide>
        <p15:guide id="45" orient="horz" pos="1324">
          <p15:clr>
            <a:srgbClr val="F26B43"/>
          </p15:clr>
        </p15:guide>
        <p15:guide id="46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9.xml"/><Relationship Id="rId1" Type="http://schemas.openxmlformats.org/officeDocument/2006/relationships/tags" Target="../tags/tag8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Relationship Id="rId9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tags" Target="../tags/tag72.xml"/><Relationship Id="rId21" Type="http://schemas.openxmlformats.org/officeDocument/2006/relationships/tags" Target="../tags/tag67.xml"/><Relationship Id="rId34" Type="http://schemas.openxmlformats.org/officeDocument/2006/relationships/oleObject" Target="../embeddings/oleObject47.bin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29" Type="http://schemas.openxmlformats.org/officeDocument/2006/relationships/tags" Target="../tags/tag75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slideLayout" Target="../slideLayouts/slideLayout2.xml"/><Relationship Id="rId37" Type="http://schemas.openxmlformats.org/officeDocument/2006/relationships/chart" Target="../charts/chart2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chart" Target="../charts/chart1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31" Type="http://schemas.openxmlformats.org/officeDocument/2006/relationships/tags" Target="../tags/tag77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30" Type="http://schemas.openxmlformats.org/officeDocument/2006/relationships/tags" Target="../tags/tag76.xml"/><Relationship Id="rId35" Type="http://schemas.openxmlformats.org/officeDocument/2006/relationships/image" Target="../media/image4.emf"/><Relationship Id="rId8" Type="http://schemas.openxmlformats.org/officeDocument/2006/relationships/tags" Target="../tags/tag54.xml"/><Relationship Id="rId3" Type="http://schemas.openxmlformats.org/officeDocument/2006/relationships/tags" Target="../tags/tag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9.xml"/><Relationship Id="rId1" Type="http://schemas.openxmlformats.org/officeDocument/2006/relationships/tags" Target="../tags/tag7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6.svg"/><Relationship Id="rId2" Type="http://schemas.openxmlformats.org/officeDocument/2006/relationships/slideLayout" Target="../slideLayouts/slideLayout79.xml"/><Relationship Id="rId1" Type="http://schemas.openxmlformats.org/officeDocument/2006/relationships/tags" Target="../tags/tag79.xml"/><Relationship Id="rId6" Type="http://schemas.openxmlformats.org/officeDocument/2006/relationships/image" Target="../media/image2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E4B56-4C42-062F-C97A-CD3C1D4F7D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31140" y="76293"/>
            <a:ext cx="5396400" cy="6858000"/>
          </a:xfrm>
        </p:spPr>
        <p:txBody>
          <a:bodyPr/>
          <a:lstStyle/>
          <a:p>
            <a:endParaRPr lang="en-US"/>
          </a:p>
        </p:txBody>
      </p:sp>
      <p:grpSp>
        <p:nvGrpSpPr>
          <p:cNvPr id="44" name="Editable shape">
            <a:extLst>
              <a:ext uri="{FF2B5EF4-FFF2-40B4-BE49-F238E27FC236}">
                <a16:creationId xmlns:a16="http://schemas.microsoft.com/office/drawing/2014/main" id="{20C63187-237D-E0DD-EDAD-600C8A4EEB36}"/>
              </a:ext>
            </a:extLst>
          </p:cNvPr>
          <p:cNvGrpSpPr>
            <a:grpSpLocks/>
          </p:cNvGrpSpPr>
          <p:nvPr/>
        </p:nvGrpSpPr>
        <p:grpSpPr>
          <a:xfrm>
            <a:off x="9083354" y="5096254"/>
            <a:ext cx="4342362" cy="2171181"/>
            <a:chOff x="9071016" y="5150712"/>
            <a:chExt cx="4342362" cy="2171181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CA896FF-AB1D-7390-D9AF-B29BF63750D1}"/>
                </a:ext>
              </a:extLst>
            </p:cNvPr>
            <p:cNvSpPr>
              <a:spLocks/>
            </p:cNvSpPr>
            <p:nvPr/>
          </p:nvSpPr>
          <p:spPr>
            <a:xfrm rot="8480932">
              <a:off x="9071016" y="5150712"/>
              <a:ext cx="4342362" cy="2171181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E806051-BD4B-8290-7C0F-4CA247EC0D84}"/>
                </a:ext>
              </a:extLst>
            </p:cNvPr>
            <p:cNvSpPr>
              <a:spLocks/>
            </p:cNvSpPr>
            <p:nvPr/>
          </p:nvSpPr>
          <p:spPr>
            <a:xfrm rot="8480932">
              <a:off x="9301069" y="5306819"/>
              <a:ext cx="3991750" cy="199587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6BE6460-C01A-99C6-D66D-E460DE519D5F}"/>
                </a:ext>
              </a:extLst>
            </p:cNvPr>
            <p:cNvSpPr>
              <a:spLocks/>
            </p:cNvSpPr>
            <p:nvPr/>
          </p:nvSpPr>
          <p:spPr>
            <a:xfrm rot="8480932">
              <a:off x="9531122" y="5462926"/>
              <a:ext cx="3641136" cy="1820567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19EED19-6487-D003-EDED-C8B4A610320E}"/>
                </a:ext>
              </a:extLst>
            </p:cNvPr>
            <p:cNvSpPr>
              <a:spLocks/>
            </p:cNvSpPr>
            <p:nvPr/>
          </p:nvSpPr>
          <p:spPr>
            <a:xfrm rot="8480932">
              <a:off x="9761174" y="5619033"/>
              <a:ext cx="3290524" cy="1645262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54ED365-40D1-B6D3-6B86-4176A179593C}"/>
                </a:ext>
              </a:extLst>
            </p:cNvPr>
            <p:cNvSpPr>
              <a:spLocks/>
            </p:cNvSpPr>
            <p:nvPr/>
          </p:nvSpPr>
          <p:spPr>
            <a:xfrm rot="8480932">
              <a:off x="9991003" y="5774990"/>
              <a:ext cx="2940251" cy="1470125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3AD3BE5-5F35-267F-23A5-FA520E846FB8}"/>
                </a:ext>
              </a:extLst>
            </p:cNvPr>
            <p:cNvSpPr>
              <a:spLocks/>
            </p:cNvSpPr>
            <p:nvPr/>
          </p:nvSpPr>
          <p:spPr>
            <a:xfrm rot="8480932">
              <a:off x="10221057" y="5931096"/>
              <a:ext cx="2589638" cy="129481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28BD22-A965-F677-DC85-FDF8D8323730}"/>
                </a:ext>
              </a:extLst>
            </p:cNvPr>
            <p:cNvSpPr>
              <a:spLocks/>
            </p:cNvSpPr>
            <p:nvPr/>
          </p:nvSpPr>
          <p:spPr>
            <a:xfrm rot="8480932">
              <a:off x="10451109" y="6087205"/>
              <a:ext cx="2239026" cy="1119511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211665B-4024-53C6-6362-B85399CB0579}"/>
                </a:ext>
              </a:extLst>
            </p:cNvPr>
            <p:cNvSpPr>
              <a:spLocks/>
            </p:cNvSpPr>
            <p:nvPr/>
          </p:nvSpPr>
          <p:spPr>
            <a:xfrm rot="8480932">
              <a:off x="10681162" y="6243311"/>
              <a:ext cx="1888412" cy="944206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1419122-9C5E-5A95-52BF-2894C3511463}"/>
                </a:ext>
              </a:extLst>
            </p:cNvPr>
            <p:cNvSpPr>
              <a:spLocks/>
            </p:cNvSpPr>
            <p:nvPr/>
          </p:nvSpPr>
          <p:spPr>
            <a:xfrm rot="8480932">
              <a:off x="10911215" y="6399418"/>
              <a:ext cx="1537800" cy="768899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EA08943-E4A5-7B7E-FB80-DBD5F6617151}"/>
                </a:ext>
              </a:extLst>
            </p:cNvPr>
            <p:cNvSpPr>
              <a:spLocks/>
            </p:cNvSpPr>
            <p:nvPr/>
          </p:nvSpPr>
          <p:spPr>
            <a:xfrm rot="8480932">
              <a:off x="11141268" y="6555525"/>
              <a:ext cx="1187186" cy="593592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E919EE7-9007-F6EC-58EE-EDE719F254CC}"/>
                </a:ext>
              </a:extLst>
            </p:cNvPr>
            <p:cNvSpPr>
              <a:spLocks/>
            </p:cNvSpPr>
            <p:nvPr/>
          </p:nvSpPr>
          <p:spPr>
            <a:xfrm rot="8480932">
              <a:off x="11371319" y="6711632"/>
              <a:ext cx="836574" cy="418287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3F01CE2-0887-111A-14CF-06995A89B473}"/>
                </a:ext>
              </a:extLst>
            </p:cNvPr>
            <p:cNvSpPr>
              <a:spLocks/>
            </p:cNvSpPr>
            <p:nvPr/>
          </p:nvSpPr>
          <p:spPr>
            <a:xfrm rot="8480932">
              <a:off x="11601372" y="6867739"/>
              <a:ext cx="485960" cy="242980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04BF148-8A22-390A-6B4D-D65CBB65E547}"/>
                </a:ext>
              </a:extLst>
            </p:cNvPr>
            <p:cNvSpPr>
              <a:spLocks/>
            </p:cNvSpPr>
            <p:nvPr userDrawn="1"/>
          </p:nvSpPr>
          <p:spPr>
            <a:xfrm rot="8480932">
              <a:off x="11831203" y="7023695"/>
              <a:ext cx="135687" cy="67843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BDB1F64-D339-8F6B-6210-028E6FD56263}"/>
              </a:ext>
            </a:extLst>
          </p:cNvPr>
          <p:cNvSpPr txBox="1"/>
          <p:nvPr/>
        </p:nvSpPr>
        <p:spPr>
          <a:xfrm>
            <a:off x="295564" y="184727"/>
            <a:ext cx="2466109" cy="11637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E7912F-FFB9-9C82-B68A-9BBFEA2DD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64" y="354348"/>
            <a:ext cx="5200760" cy="597574"/>
          </a:xfrm>
          <a:prstGeom prst="rect">
            <a:avLst/>
          </a:prstGeom>
        </p:spPr>
      </p:pic>
      <p:pic>
        <p:nvPicPr>
          <p:cNvPr id="7" name="Picture Placeholder 5" descr="A group of people in a crowd&#10;&#10;Description automatically generated">
            <a:extLst>
              <a:ext uri="{FF2B5EF4-FFF2-40B4-BE49-F238E27FC236}">
                <a16:creationId xmlns:a16="http://schemas.microsoft.com/office/drawing/2014/main" id="{DAB3C93E-52C3-3B6D-E29F-2B522476A8A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3773" r="23773"/>
          <a:stretch>
            <a:fillRect/>
          </a:stretch>
        </p:blipFill>
        <p:spPr>
          <a:xfrm>
            <a:off x="6784979" y="8317"/>
            <a:ext cx="5396400" cy="6858000"/>
          </a:xfrm>
          <a:custGeom>
            <a:avLst/>
            <a:gdLst>
              <a:gd name="connsiteX0" fmla="*/ 1970237 w 5396400"/>
              <a:gd name="connsiteY0" fmla="*/ 0 h 6858000"/>
              <a:gd name="connsiteX1" fmla="*/ 5396400 w 5396400"/>
              <a:gd name="connsiteY1" fmla="*/ 0 h 6858000"/>
              <a:gd name="connsiteX2" fmla="*/ 5396400 w 5396400"/>
              <a:gd name="connsiteY2" fmla="*/ 6836948 h 6858000"/>
              <a:gd name="connsiteX3" fmla="*/ 5348271 w 5396400"/>
              <a:gd name="connsiteY3" fmla="*/ 6858000 h 6858000"/>
              <a:gd name="connsiteX4" fmla="*/ 2302830 w 5396400"/>
              <a:gd name="connsiteY4" fmla="*/ 6858000 h 6858000"/>
              <a:gd name="connsiteX5" fmla="*/ 2168296 w 5396400"/>
              <a:gd name="connsiteY5" fmla="*/ 6797179 h 6858000"/>
              <a:gd name="connsiteX6" fmla="*/ 0 w 5396400"/>
              <a:gd name="connsiteY6" fmla="*/ 3346833 h 6858000"/>
              <a:gd name="connsiteX7" fmla="*/ 1842951 w 5396400"/>
              <a:gd name="connsiteY7" fmla="*/ 731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6400" h="6858000">
                <a:moveTo>
                  <a:pt x="1970237" y="0"/>
                </a:moveTo>
                <a:lnTo>
                  <a:pt x="5396400" y="0"/>
                </a:lnTo>
                <a:lnTo>
                  <a:pt x="5396400" y="6836948"/>
                </a:lnTo>
                <a:lnTo>
                  <a:pt x="5348271" y="6858000"/>
                </a:lnTo>
                <a:lnTo>
                  <a:pt x="2302830" y="6858000"/>
                </a:lnTo>
                <a:lnTo>
                  <a:pt x="2168296" y="6797179"/>
                </a:lnTo>
                <a:cubicBezTo>
                  <a:pt x="885336" y="6178985"/>
                  <a:pt x="0" y="4866299"/>
                  <a:pt x="0" y="3346833"/>
                </a:cubicBezTo>
                <a:cubicBezTo>
                  <a:pt x="0" y="1959494"/>
                  <a:pt x="738059" y="744537"/>
                  <a:pt x="1842951" y="73188"/>
                </a:cubicBezTo>
                <a:close/>
              </a:path>
            </a:pathLst>
          </a:custGeom>
        </p:spPr>
      </p:pic>
      <p:sp>
        <p:nvSpPr>
          <p:cNvPr id="9" name="Title 40">
            <a:extLst>
              <a:ext uri="{FF2B5EF4-FFF2-40B4-BE49-F238E27FC236}">
                <a16:creationId xmlns:a16="http://schemas.microsoft.com/office/drawing/2014/main" id="{FFCE4A7B-6B15-565E-5DB4-E6527B7DC47B}"/>
              </a:ext>
            </a:extLst>
          </p:cNvPr>
          <p:cNvSpPr txBox="1">
            <a:spLocks/>
          </p:cNvSpPr>
          <p:nvPr/>
        </p:nvSpPr>
        <p:spPr>
          <a:xfrm>
            <a:off x="295022" y="2951924"/>
            <a:ext cx="629589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000"/>
              <a:t> </a:t>
            </a:r>
            <a:r>
              <a:rPr lang="en-US" sz="4700" b="1">
                <a:solidFill>
                  <a:srgbClr val="09544F"/>
                </a:solidFill>
                <a:latin typeface="Poppins"/>
                <a:cs typeface="Poppins"/>
              </a:rPr>
              <a:t>In-country </a:t>
            </a:r>
            <a:endParaRPr lang="en-US"/>
          </a:p>
          <a:p>
            <a:r>
              <a:rPr lang="en-US" sz="4700" b="1">
                <a:solidFill>
                  <a:srgbClr val="09544F"/>
                </a:solidFill>
                <a:latin typeface="Poppins"/>
                <a:cs typeface="Poppins"/>
              </a:rPr>
              <a:t>GFF visibility session </a:t>
            </a:r>
            <a:br>
              <a:rPr lang="en-US" sz="4700" b="1">
                <a:solidFill>
                  <a:srgbClr val="09544F"/>
                </a:solidFill>
                <a:latin typeface="Poppins"/>
                <a:cs typeface="Poppins"/>
              </a:rPr>
            </a:br>
            <a:endParaRPr lang="en-US" sz="4700" b="1">
              <a:solidFill>
                <a:srgbClr val="09544F"/>
              </a:solidFill>
              <a:latin typeface="Poppins"/>
              <a:cs typeface="Poppins"/>
            </a:endParaRPr>
          </a:p>
          <a:p>
            <a:r>
              <a:rPr lang="en-US" sz="2500" b="1">
                <a:solidFill>
                  <a:srgbClr val="09544F"/>
                </a:solidFill>
                <a:latin typeface="Poppins"/>
                <a:cs typeface="Poppins"/>
              </a:rPr>
              <a:t>Cape Town May 5, 2025</a:t>
            </a:r>
            <a:endParaRPr lang="en-US" sz="2500"/>
          </a:p>
          <a:p>
            <a:endParaRPr lang="en-US" sz="4700" b="1">
              <a:solidFill>
                <a:srgbClr val="09544F"/>
              </a:solidFill>
              <a:latin typeface="Poppins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149289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AA032-CBC9-1C06-6802-081D2E203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05DCE5-B135-64F2-5AA9-564BDEB3FC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DCE5-B135-64F2-5AA9-564BDEB3F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682508B-C91E-57ED-6078-BD819030CF05}"/>
              </a:ext>
            </a:extLst>
          </p:cNvPr>
          <p:cNvSpPr txBox="1"/>
          <p:nvPr/>
        </p:nvSpPr>
        <p:spPr>
          <a:xfrm>
            <a:off x="401648" y="340446"/>
            <a:ext cx="98962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losing Refle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25381A-E02F-5F45-CDDE-B9C6843BD95A}"/>
              </a:ext>
            </a:extLst>
          </p:cNvPr>
          <p:cNvSpPr txBox="1"/>
          <p:nvPr/>
        </p:nvSpPr>
        <p:spPr>
          <a:xfrm>
            <a:off x="718459" y="1491343"/>
            <a:ext cx="7130142" cy="200054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b="1">
              <a:solidFill>
                <a:prstClr val="white"/>
              </a:solidFill>
              <a:latin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Poppi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16963B-D5E0-CF33-F39C-7062F0EEBAE2}"/>
              </a:ext>
            </a:extLst>
          </p:cNvPr>
          <p:cNvSpPr txBox="1"/>
          <p:nvPr/>
        </p:nvSpPr>
        <p:spPr>
          <a:xfrm>
            <a:off x="6727371" y="445225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972270-4266-5632-F890-98F0A2E51ACF}"/>
              </a:ext>
            </a:extLst>
          </p:cNvPr>
          <p:cNvSpPr txBox="1"/>
          <p:nvPr/>
        </p:nvSpPr>
        <p:spPr>
          <a:xfrm>
            <a:off x="1390453" y="1730342"/>
            <a:ext cx="6934199" cy="213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i="1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Questions?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l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185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9CF30-A642-0F5D-C11A-660A11629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5390" y="2132761"/>
            <a:ext cx="6520110" cy="2168421"/>
          </a:xfrm>
        </p:spPr>
        <p:txBody>
          <a:bodyPr/>
          <a:lstStyle/>
          <a:p>
            <a:r>
              <a:rPr lang="en-US">
                <a:latin typeface="Poppins" panose="00000500000000000000" pitchFamily="2" charset="0"/>
                <a:cs typeface="Poppins" panose="00000500000000000000" pitchFamily="2" charset="0"/>
              </a:rPr>
              <a:t>THANK YOU</a:t>
            </a:r>
          </a:p>
        </p:txBody>
      </p:sp>
      <p:sp>
        <p:nvSpPr>
          <p:cNvPr id="5" name="Google Shape;407;p13">
            <a:extLst>
              <a:ext uri="{FF2B5EF4-FFF2-40B4-BE49-F238E27FC236}">
                <a16:creationId xmlns:a16="http://schemas.microsoft.com/office/drawing/2014/main" id="{7B7C6F1E-E6A7-3752-B437-1B0805E6D193}"/>
              </a:ext>
            </a:extLst>
          </p:cNvPr>
          <p:cNvSpPr/>
          <p:nvPr/>
        </p:nvSpPr>
        <p:spPr>
          <a:xfrm>
            <a:off x="6012192" y="298252"/>
            <a:ext cx="5233175" cy="584595"/>
          </a:xfrm>
          <a:custGeom>
            <a:avLst/>
            <a:gdLst/>
            <a:ahLst/>
            <a:cxnLst/>
            <a:rect l="l" t="t" r="r" b="b"/>
            <a:pathLst>
              <a:path w="5937686" h="682248" extrusionOk="0">
                <a:moveTo>
                  <a:pt x="0" y="0"/>
                </a:moveTo>
                <a:lnTo>
                  <a:pt x="5937686" y="0"/>
                </a:lnTo>
                <a:lnTo>
                  <a:pt x="5937686" y="682248"/>
                </a:lnTo>
                <a:lnTo>
                  <a:pt x="0" y="68224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E0F553F-65B3-3061-4F03-57E59ADA6C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5390" y="4322145"/>
            <a:ext cx="6757992" cy="2168421"/>
          </a:xfrm>
        </p:spPr>
        <p:txBody>
          <a:bodyPr lIns="640080">
            <a:noAutofit/>
          </a:bodyPr>
          <a:lstStyle/>
          <a:p>
            <a:r>
              <a:rPr lang="en-US" sz="2500">
                <a:latin typeface="Poppins" panose="00000500000000000000" pitchFamily="2" charset="0"/>
                <a:cs typeface="Poppins" panose="00000500000000000000" pitchFamily="2" charset="0"/>
              </a:rPr>
              <a:t>www.globalfinancingfacility.org</a:t>
            </a:r>
          </a:p>
          <a:p>
            <a:r>
              <a:rPr lang="en-US" sz="2500">
                <a:latin typeface="Poppins" panose="00000500000000000000" pitchFamily="2" charset="0"/>
                <a:cs typeface="Poppins" panose="00000500000000000000" pitchFamily="2" charset="0"/>
              </a:rPr>
              <a:t>gffsecretariat@worldbank.org</a:t>
            </a:r>
          </a:p>
          <a:p>
            <a:r>
              <a:rPr lang="en-US" sz="2500">
                <a:latin typeface="Poppins" panose="00000500000000000000" pitchFamily="2" charset="0"/>
                <a:cs typeface="Poppins" panose="00000500000000000000" pitchFamily="2" charset="0"/>
              </a:rPr>
              <a:t>@thegff</a:t>
            </a:r>
          </a:p>
          <a:p>
            <a:r>
              <a:rPr lang="en-US" sz="2500" kern="1200">
                <a:solidFill>
                  <a:srgbClr val="09544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inkedin.com/company/</a:t>
            </a:r>
            <a:r>
              <a:rPr lang="en-US" sz="2500" kern="1200" err="1">
                <a:solidFill>
                  <a:srgbClr val="09544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gff</a:t>
            </a:r>
            <a:endParaRPr lang="en-US" sz="2500" kern="1200">
              <a:solidFill>
                <a:srgbClr val="09544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3" name="Graphic 22" descr="Cursor outline">
            <a:extLst>
              <a:ext uri="{FF2B5EF4-FFF2-40B4-BE49-F238E27FC236}">
                <a16:creationId xmlns:a16="http://schemas.microsoft.com/office/drawing/2014/main" id="{D4D3FFB8-DF0F-DE8F-7C6D-E341FC351E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82425" y="4354684"/>
            <a:ext cx="427673" cy="427673"/>
          </a:xfrm>
          <a:prstGeom prst="rect">
            <a:avLst/>
          </a:prstGeom>
        </p:spPr>
      </p:pic>
      <p:pic>
        <p:nvPicPr>
          <p:cNvPr id="24" name="Graphic 23" descr="Envelope outline">
            <a:extLst>
              <a:ext uri="{FF2B5EF4-FFF2-40B4-BE49-F238E27FC236}">
                <a16:creationId xmlns:a16="http://schemas.microsoft.com/office/drawing/2014/main" id="{9B076E5E-5231-D31B-9A6C-66B2B8B46D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05795" y="4903564"/>
            <a:ext cx="380932" cy="380932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AC303DC4-0D5A-B413-8FAE-63AD4BB825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71565" y="5498150"/>
            <a:ext cx="249392" cy="254315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4B01B93-4CDC-26EC-62B8-245AD6131CB3}"/>
              </a:ext>
            </a:extLst>
          </p:cNvPr>
          <p:cNvSpPr/>
          <p:nvPr/>
        </p:nvSpPr>
        <p:spPr>
          <a:xfrm>
            <a:off x="5383504" y="5967805"/>
            <a:ext cx="186918" cy="178619"/>
          </a:xfrm>
          <a:custGeom>
            <a:avLst/>
            <a:gdLst>
              <a:gd name="connsiteX0" fmla="*/ 186918 w 186918"/>
              <a:gd name="connsiteY0" fmla="*/ 109516 h 178619"/>
              <a:gd name="connsiteX1" fmla="*/ 186918 w 186918"/>
              <a:gd name="connsiteY1" fmla="*/ 178620 h 178619"/>
              <a:gd name="connsiteX2" fmla="*/ 146862 w 186918"/>
              <a:gd name="connsiteY2" fmla="*/ 178620 h 178619"/>
              <a:gd name="connsiteX3" fmla="*/ 146862 w 186918"/>
              <a:gd name="connsiteY3" fmla="*/ 114133 h 178619"/>
              <a:gd name="connsiteX4" fmla="*/ 126562 w 186918"/>
              <a:gd name="connsiteY4" fmla="*/ 86899 h 178619"/>
              <a:gd name="connsiteX5" fmla="*/ 106001 w 186918"/>
              <a:gd name="connsiteY5" fmla="*/ 101553 h 178619"/>
              <a:gd name="connsiteX6" fmla="*/ 104674 w 186918"/>
              <a:gd name="connsiteY6" fmla="*/ 111310 h 178619"/>
              <a:gd name="connsiteX7" fmla="*/ 104674 w 186918"/>
              <a:gd name="connsiteY7" fmla="*/ 178620 h 178619"/>
              <a:gd name="connsiteX8" fmla="*/ 64599 w 186918"/>
              <a:gd name="connsiteY8" fmla="*/ 178620 h 178619"/>
              <a:gd name="connsiteX9" fmla="*/ 64599 w 186918"/>
              <a:gd name="connsiteY9" fmla="*/ 58113 h 178619"/>
              <a:gd name="connsiteX10" fmla="*/ 104674 w 186918"/>
              <a:gd name="connsiteY10" fmla="*/ 58113 h 178619"/>
              <a:gd name="connsiteX11" fmla="*/ 104674 w 186918"/>
              <a:gd name="connsiteY11" fmla="*/ 75179 h 178619"/>
              <a:gd name="connsiteX12" fmla="*/ 104413 w 186918"/>
              <a:gd name="connsiteY12" fmla="*/ 75571 h 178619"/>
              <a:gd name="connsiteX13" fmla="*/ 104674 w 186918"/>
              <a:gd name="connsiteY13" fmla="*/ 75571 h 178619"/>
              <a:gd name="connsiteX14" fmla="*/ 104674 w 186918"/>
              <a:gd name="connsiteY14" fmla="*/ 75198 h 178619"/>
              <a:gd name="connsiteX15" fmla="*/ 140787 w 186918"/>
              <a:gd name="connsiteY15" fmla="*/ 55272 h 178619"/>
              <a:gd name="connsiteX16" fmla="*/ 186918 w 186918"/>
              <a:gd name="connsiteY16" fmla="*/ 109516 h 178619"/>
              <a:gd name="connsiteX17" fmla="*/ 22673 w 186918"/>
              <a:gd name="connsiteY17" fmla="*/ 0 h 178619"/>
              <a:gd name="connsiteX18" fmla="*/ 0 w 186918"/>
              <a:gd name="connsiteY18" fmla="*/ 20823 h 178619"/>
              <a:gd name="connsiteX19" fmla="*/ 22150 w 186918"/>
              <a:gd name="connsiteY19" fmla="*/ 41664 h 178619"/>
              <a:gd name="connsiteX20" fmla="*/ 22412 w 186918"/>
              <a:gd name="connsiteY20" fmla="*/ 41664 h 178619"/>
              <a:gd name="connsiteX21" fmla="*/ 45085 w 186918"/>
              <a:gd name="connsiteY21" fmla="*/ 20823 h 178619"/>
              <a:gd name="connsiteX22" fmla="*/ 22673 w 186918"/>
              <a:gd name="connsiteY22" fmla="*/ 0 h 178619"/>
              <a:gd name="connsiteX23" fmla="*/ 2374 w 186918"/>
              <a:gd name="connsiteY23" fmla="*/ 178620 h 178619"/>
              <a:gd name="connsiteX24" fmla="*/ 42449 w 186918"/>
              <a:gd name="connsiteY24" fmla="*/ 178620 h 178619"/>
              <a:gd name="connsiteX25" fmla="*/ 42449 w 186918"/>
              <a:gd name="connsiteY25" fmla="*/ 58113 h 178619"/>
              <a:gd name="connsiteX26" fmla="*/ 2374 w 186918"/>
              <a:gd name="connsiteY26" fmla="*/ 58113 h 178619"/>
              <a:gd name="connsiteX27" fmla="*/ 2374 w 186918"/>
              <a:gd name="connsiteY27" fmla="*/ 178620 h 178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86918" h="178619">
                <a:moveTo>
                  <a:pt x="186918" y="109516"/>
                </a:moveTo>
                <a:lnTo>
                  <a:pt x="186918" y="178620"/>
                </a:lnTo>
                <a:lnTo>
                  <a:pt x="146862" y="178620"/>
                </a:lnTo>
                <a:lnTo>
                  <a:pt x="146862" y="114133"/>
                </a:lnTo>
                <a:cubicBezTo>
                  <a:pt x="146862" y="97946"/>
                  <a:pt x="141067" y="86899"/>
                  <a:pt x="126562" y="86899"/>
                </a:cubicBezTo>
                <a:cubicBezTo>
                  <a:pt x="115497" y="86899"/>
                  <a:pt x="108899" y="94338"/>
                  <a:pt x="106001" y="101553"/>
                </a:cubicBezTo>
                <a:cubicBezTo>
                  <a:pt x="104955" y="104133"/>
                  <a:pt x="104674" y="107722"/>
                  <a:pt x="104674" y="111310"/>
                </a:cubicBezTo>
                <a:lnTo>
                  <a:pt x="104674" y="178620"/>
                </a:lnTo>
                <a:lnTo>
                  <a:pt x="64599" y="178620"/>
                </a:lnTo>
                <a:cubicBezTo>
                  <a:pt x="64599" y="178620"/>
                  <a:pt x="65141" y="69422"/>
                  <a:pt x="64599" y="58113"/>
                </a:cubicBezTo>
                <a:lnTo>
                  <a:pt x="104674" y="58113"/>
                </a:lnTo>
                <a:lnTo>
                  <a:pt x="104674" y="75179"/>
                </a:lnTo>
                <a:lnTo>
                  <a:pt x="104413" y="75571"/>
                </a:lnTo>
                <a:lnTo>
                  <a:pt x="104674" y="75571"/>
                </a:lnTo>
                <a:lnTo>
                  <a:pt x="104674" y="75198"/>
                </a:lnTo>
                <a:cubicBezTo>
                  <a:pt x="110001" y="66973"/>
                  <a:pt x="119497" y="55272"/>
                  <a:pt x="140787" y="55272"/>
                </a:cubicBezTo>
                <a:cubicBezTo>
                  <a:pt x="167142" y="55272"/>
                  <a:pt x="186918" y="72506"/>
                  <a:pt x="186918" y="109516"/>
                </a:cubicBezTo>
                <a:close/>
                <a:moveTo>
                  <a:pt x="22673" y="0"/>
                </a:moveTo>
                <a:cubicBezTo>
                  <a:pt x="8972" y="0"/>
                  <a:pt x="0" y="9010"/>
                  <a:pt x="0" y="20823"/>
                </a:cubicBezTo>
                <a:cubicBezTo>
                  <a:pt x="0" y="32412"/>
                  <a:pt x="8710" y="41664"/>
                  <a:pt x="22150" y="41664"/>
                </a:cubicBezTo>
                <a:lnTo>
                  <a:pt x="22412" y="41664"/>
                </a:lnTo>
                <a:cubicBezTo>
                  <a:pt x="36393" y="41664"/>
                  <a:pt x="45085" y="32393"/>
                  <a:pt x="45085" y="20823"/>
                </a:cubicBezTo>
                <a:cubicBezTo>
                  <a:pt x="44823" y="9010"/>
                  <a:pt x="36393" y="0"/>
                  <a:pt x="22673" y="0"/>
                </a:cubicBezTo>
                <a:close/>
                <a:moveTo>
                  <a:pt x="2374" y="178620"/>
                </a:moveTo>
                <a:lnTo>
                  <a:pt x="42449" y="178620"/>
                </a:lnTo>
                <a:lnTo>
                  <a:pt x="42449" y="58113"/>
                </a:lnTo>
                <a:lnTo>
                  <a:pt x="2374" y="58113"/>
                </a:lnTo>
                <a:lnTo>
                  <a:pt x="2374" y="178620"/>
                </a:lnTo>
                <a:close/>
              </a:path>
            </a:pathLst>
          </a:custGeom>
          <a:solidFill>
            <a:srgbClr val="0C7168"/>
          </a:solidFill>
          <a:ln w="186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4618CAD-C2EF-C35D-51A4-EE6CBB3FA420}"/>
              </a:ext>
            </a:extLst>
          </p:cNvPr>
          <p:cNvSpPr/>
          <p:nvPr/>
        </p:nvSpPr>
        <p:spPr>
          <a:xfrm>
            <a:off x="5290045" y="5869280"/>
            <a:ext cx="373836" cy="373838"/>
          </a:xfrm>
          <a:custGeom>
            <a:avLst/>
            <a:gdLst>
              <a:gd name="connsiteX0" fmla="*/ 186918 w 373836"/>
              <a:gd name="connsiteY0" fmla="*/ 336454 h 373838"/>
              <a:gd name="connsiteX1" fmla="*/ 336453 w 373836"/>
              <a:gd name="connsiteY1" fmla="*/ 186919 h 373838"/>
              <a:gd name="connsiteX2" fmla="*/ 186918 w 373836"/>
              <a:gd name="connsiteY2" fmla="*/ 37384 h 373838"/>
              <a:gd name="connsiteX3" fmla="*/ 37384 w 373836"/>
              <a:gd name="connsiteY3" fmla="*/ 186919 h 373838"/>
              <a:gd name="connsiteX4" fmla="*/ 186918 w 373836"/>
              <a:gd name="connsiteY4" fmla="*/ 336454 h 373838"/>
              <a:gd name="connsiteX5" fmla="*/ 186918 w 373836"/>
              <a:gd name="connsiteY5" fmla="*/ 373838 h 373838"/>
              <a:gd name="connsiteX6" fmla="*/ 0 w 373836"/>
              <a:gd name="connsiteY6" fmla="*/ 186919 h 373838"/>
              <a:gd name="connsiteX7" fmla="*/ 186918 w 373836"/>
              <a:gd name="connsiteY7" fmla="*/ 0 h 373838"/>
              <a:gd name="connsiteX8" fmla="*/ 373837 w 373836"/>
              <a:gd name="connsiteY8" fmla="*/ 186919 h 373838"/>
              <a:gd name="connsiteX9" fmla="*/ 186918 w 373836"/>
              <a:gd name="connsiteY9" fmla="*/ 373838 h 37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3836" h="373838">
                <a:moveTo>
                  <a:pt x="186918" y="336454"/>
                </a:moveTo>
                <a:cubicBezTo>
                  <a:pt x="269504" y="336454"/>
                  <a:pt x="336453" y="269506"/>
                  <a:pt x="336453" y="186919"/>
                </a:cubicBezTo>
                <a:cubicBezTo>
                  <a:pt x="336453" y="104333"/>
                  <a:pt x="269504" y="37384"/>
                  <a:pt x="186918" y="37384"/>
                </a:cubicBezTo>
                <a:cubicBezTo>
                  <a:pt x="104333" y="37384"/>
                  <a:pt x="37384" y="104333"/>
                  <a:pt x="37384" y="186919"/>
                </a:cubicBezTo>
                <a:cubicBezTo>
                  <a:pt x="37384" y="269506"/>
                  <a:pt x="104333" y="336454"/>
                  <a:pt x="186918" y="336454"/>
                </a:cubicBezTo>
                <a:close/>
                <a:moveTo>
                  <a:pt x="186918" y="373838"/>
                </a:moveTo>
                <a:cubicBezTo>
                  <a:pt x="83683" y="373838"/>
                  <a:pt x="0" y="290155"/>
                  <a:pt x="0" y="186919"/>
                </a:cubicBezTo>
                <a:cubicBezTo>
                  <a:pt x="0" y="83684"/>
                  <a:pt x="83683" y="0"/>
                  <a:pt x="186918" y="0"/>
                </a:cubicBezTo>
                <a:cubicBezTo>
                  <a:pt x="290153" y="0"/>
                  <a:pt x="373837" y="83684"/>
                  <a:pt x="373837" y="186919"/>
                </a:cubicBezTo>
                <a:cubicBezTo>
                  <a:pt x="373837" y="290155"/>
                  <a:pt x="290153" y="373838"/>
                  <a:pt x="186918" y="373838"/>
                </a:cubicBezTo>
                <a:close/>
              </a:path>
            </a:pathLst>
          </a:custGeom>
          <a:solidFill>
            <a:srgbClr val="0C7168"/>
          </a:solidFill>
          <a:ln w="18653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0F7848-23F1-9499-0438-FE6E35DAB9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5767" y="0"/>
            <a:ext cx="3563222" cy="6858000"/>
          </a:xfrm>
        </p:spPr>
        <p:txBody>
          <a:bodyPr/>
          <a:lstStyle/>
          <a:p>
            <a:endParaRPr lang="fr-FR"/>
          </a:p>
        </p:txBody>
      </p:sp>
      <p:pic>
        <p:nvPicPr>
          <p:cNvPr id="7" name="Picture Placeholder 7" descr="A group of young girls in blue dresses&#10;&#10;Description automatically generated">
            <a:extLst>
              <a:ext uri="{FF2B5EF4-FFF2-40B4-BE49-F238E27FC236}">
                <a16:creationId xmlns:a16="http://schemas.microsoft.com/office/drawing/2014/main" id="{556E68D2-8AEC-0340-7723-C0D1E81E36D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4195" r="21124" b="-1"/>
          <a:stretch/>
        </p:blipFill>
        <p:spPr>
          <a:xfrm>
            <a:off x="20" y="10"/>
            <a:ext cx="3563202" cy="6857990"/>
          </a:xfrm>
          <a:custGeom>
            <a:avLst/>
            <a:gdLst>
              <a:gd name="connsiteX0" fmla="*/ 0 w 3563222"/>
              <a:gd name="connsiteY0" fmla="*/ 0 h 6858000"/>
              <a:gd name="connsiteX1" fmla="*/ 1985024 w 3563222"/>
              <a:gd name="connsiteY1" fmla="*/ 0 h 6858000"/>
              <a:gd name="connsiteX2" fmla="*/ 2049193 w 3563222"/>
              <a:gd name="connsiteY2" fmla="*/ 46663 h 6858000"/>
              <a:gd name="connsiteX3" fmla="*/ 3563222 w 3563222"/>
              <a:gd name="connsiteY3" fmla="*/ 3276654 h 6858000"/>
              <a:gd name="connsiteX4" fmla="*/ 1617989 w 3563222"/>
              <a:gd name="connsiteY4" fmla="*/ 6787777 h 6858000"/>
              <a:gd name="connsiteX5" fmla="*/ 1481052 w 3563222"/>
              <a:gd name="connsiteY5" fmla="*/ 6858000 h 6858000"/>
              <a:gd name="connsiteX6" fmla="*/ 0 w 356322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63222" h="6858000">
                <a:moveTo>
                  <a:pt x="0" y="0"/>
                </a:moveTo>
                <a:lnTo>
                  <a:pt x="1985024" y="0"/>
                </a:lnTo>
                <a:lnTo>
                  <a:pt x="2049193" y="46663"/>
                </a:lnTo>
                <a:cubicBezTo>
                  <a:pt x="2962650" y="746665"/>
                  <a:pt x="3563222" y="1932105"/>
                  <a:pt x="3563222" y="3276654"/>
                </a:cubicBezTo>
                <a:cubicBezTo>
                  <a:pt x="3563222" y="4822886"/>
                  <a:pt x="2768965" y="6158695"/>
                  <a:pt x="1617989" y="6787777"/>
                </a:cubicBezTo>
                <a:lnTo>
                  <a:pt x="1481052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325351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48ED40E7-854B-6F7E-CBBC-B415D5A0D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5">
            <a:extLst>
              <a:ext uri="{FF2B5EF4-FFF2-40B4-BE49-F238E27FC236}">
                <a16:creationId xmlns:a16="http://schemas.microsoft.com/office/drawing/2014/main" id="{4D56F7A7-58E6-C8BD-3184-361D29DF5576}"/>
              </a:ext>
            </a:extLst>
          </p:cNvPr>
          <p:cNvSpPr/>
          <p:nvPr/>
        </p:nvSpPr>
        <p:spPr>
          <a:xfrm>
            <a:off x="576555" y="2583699"/>
            <a:ext cx="5294748" cy="2379632"/>
          </a:xfrm>
          <a:prstGeom prst="round2DiagRect">
            <a:avLst/>
          </a:prstGeom>
          <a:gradFill flip="none" rotWithShape="1">
            <a:gsLst>
              <a:gs pos="0">
                <a:srgbClr val="1FA29C"/>
              </a:gs>
              <a:gs pos="100000">
                <a:srgbClr val="21568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effectLst/>
                <a:latin typeface="Poppins"/>
              </a:rPr>
              <a:t>Lack </a:t>
            </a:r>
            <a:r>
              <a:rPr lang="en-US">
                <a:latin typeface="Poppins"/>
              </a:rPr>
              <a:t>of intentional visibility of the GFF, which hinders ability to raise resources to provide to countries to support their priorities to increase impact</a:t>
            </a:r>
          </a:p>
        </p:txBody>
      </p:sp>
      <p:grpSp>
        <p:nvGrpSpPr>
          <p:cNvPr id="44" name="Editable shape">
            <a:extLst>
              <a:ext uri="{FF2B5EF4-FFF2-40B4-BE49-F238E27FC236}">
                <a16:creationId xmlns:a16="http://schemas.microsoft.com/office/drawing/2014/main" id="{F0589CB1-67A7-85C6-3A30-B30A00258FE3}"/>
              </a:ext>
            </a:extLst>
          </p:cNvPr>
          <p:cNvGrpSpPr>
            <a:grpSpLocks/>
          </p:cNvGrpSpPr>
          <p:nvPr/>
        </p:nvGrpSpPr>
        <p:grpSpPr>
          <a:xfrm>
            <a:off x="9083354" y="5096254"/>
            <a:ext cx="4342362" cy="2171181"/>
            <a:chOff x="9071016" y="5150712"/>
            <a:chExt cx="4342362" cy="2171181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AA523B4-4F12-627C-F957-626FAC103D47}"/>
                </a:ext>
              </a:extLst>
            </p:cNvPr>
            <p:cNvSpPr>
              <a:spLocks/>
            </p:cNvSpPr>
            <p:nvPr/>
          </p:nvSpPr>
          <p:spPr>
            <a:xfrm rot="8480932">
              <a:off x="9071016" y="5150712"/>
              <a:ext cx="4342362" cy="2171181"/>
            </a:xfrm>
            <a:custGeom>
              <a:avLst/>
              <a:gdLst>
                <a:gd name="connsiteX0" fmla="*/ 0 w 2432494"/>
                <a:gd name="connsiteY0" fmla="*/ 0 h 1216247"/>
                <a:gd name="connsiteX1" fmla="*/ 1216247 w 2432494"/>
                <a:gd name="connsiteY1" fmla="*/ 1216247 h 1216247"/>
                <a:gd name="connsiteX2" fmla="*/ 2432495 w 2432494"/>
                <a:gd name="connsiteY2" fmla="*/ 0 h 1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494" h="1216247">
                  <a:moveTo>
                    <a:pt x="0" y="0"/>
                  </a:moveTo>
                  <a:cubicBezTo>
                    <a:pt x="0" y="671703"/>
                    <a:pt x="544544" y="1216247"/>
                    <a:pt x="1216247" y="1216247"/>
                  </a:cubicBezTo>
                  <a:cubicBezTo>
                    <a:pt x="1887951" y="1216247"/>
                    <a:pt x="2432495" y="671703"/>
                    <a:pt x="243249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8DAB22-9405-F754-6F29-FCC356482BAF}"/>
                </a:ext>
              </a:extLst>
            </p:cNvPr>
            <p:cNvSpPr>
              <a:spLocks/>
            </p:cNvSpPr>
            <p:nvPr/>
          </p:nvSpPr>
          <p:spPr>
            <a:xfrm rot="8480932">
              <a:off x="9301069" y="5306819"/>
              <a:ext cx="3991750" cy="1995874"/>
            </a:xfrm>
            <a:custGeom>
              <a:avLst/>
              <a:gdLst>
                <a:gd name="connsiteX0" fmla="*/ 0 w 2236089"/>
                <a:gd name="connsiteY0" fmla="*/ 0 h 1118044"/>
                <a:gd name="connsiteX1" fmla="*/ 1118045 w 2236089"/>
                <a:gd name="connsiteY1" fmla="*/ 1118045 h 1118044"/>
                <a:gd name="connsiteX2" fmla="*/ 2236089 w 2236089"/>
                <a:gd name="connsiteY2" fmla="*/ 0 h 111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6089" h="1118044">
                  <a:moveTo>
                    <a:pt x="0" y="0"/>
                  </a:moveTo>
                  <a:cubicBezTo>
                    <a:pt x="0" y="617506"/>
                    <a:pt x="500539" y="1118045"/>
                    <a:pt x="1118045" y="1118045"/>
                  </a:cubicBezTo>
                  <a:cubicBezTo>
                    <a:pt x="1735551" y="1118045"/>
                    <a:pt x="2236089" y="617506"/>
                    <a:pt x="223608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4E048FB-62AD-FE78-0427-BA74AC73BECD}"/>
                </a:ext>
              </a:extLst>
            </p:cNvPr>
            <p:cNvSpPr>
              <a:spLocks/>
            </p:cNvSpPr>
            <p:nvPr/>
          </p:nvSpPr>
          <p:spPr>
            <a:xfrm rot="8480932">
              <a:off x="9531122" y="5462926"/>
              <a:ext cx="3641136" cy="1820567"/>
            </a:xfrm>
            <a:custGeom>
              <a:avLst/>
              <a:gdLst>
                <a:gd name="connsiteX0" fmla="*/ 0 w 2039683"/>
                <a:gd name="connsiteY0" fmla="*/ 0 h 1019841"/>
                <a:gd name="connsiteX1" fmla="*/ 1019842 w 2039683"/>
                <a:gd name="connsiteY1" fmla="*/ 1019842 h 1019841"/>
                <a:gd name="connsiteX2" fmla="*/ 2039684 w 2039683"/>
                <a:gd name="connsiteY2" fmla="*/ 0 h 101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9683" h="1019841">
                  <a:moveTo>
                    <a:pt x="0" y="0"/>
                  </a:moveTo>
                  <a:cubicBezTo>
                    <a:pt x="0" y="563309"/>
                    <a:pt x="456629" y="1019842"/>
                    <a:pt x="1019842" y="1019842"/>
                  </a:cubicBezTo>
                  <a:cubicBezTo>
                    <a:pt x="1583055" y="1019842"/>
                    <a:pt x="2039684" y="563309"/>
                    <a:pt x="2039684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3FEAA8F-5E7A-572E-67C2-46BF3B7A3800}"/>
                </a:ext>
              </a:extLst>
            </p:cNvPr>
            <p:cNvSpPr>
              <a:spLocks/>
            </p:cNvSpPr>
            <p:nvPr/>
          </p:nvSpPr>
          <p:spPr>
            <a:xfrm rot="8480932">
              <a:off x="9761174" y="5619033"/>
              <a:ext cx="3290524" cy="1645262"/>
            </a:xfrm>
            <a:custGeom>
              <a:avLst/>
              <a:gdLst>
                <a:gd name="connsiteX0" fmla="*/ 0 w 1843278"/>
                <a:gd name="connsiteY0" fmla="*/ 0 h 921639"/>
                <a:gd name="connsiteX1" fmla="*/ 921639 w 1843278"/>
                <a:gd name="connsiteY1" fmla="*/ 921639 h 921639"/>
                <a:gd name="connsiteX2" fmla="*/ 1843278 w 1843278"/>
                <a:gd name="connsiteY2" fmla="*/ 0 h 9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278" h="921639">
                  <a:moveTo>
                    <a:pt x="0" y="0"/>
                  </a:moveTo>
                  <a:cubicBezTo>
                    <a:pt x="0" y="509016"/>
                    <a:pt x="412623" y="921639"/>
                    <a:pt x="921639" y="921639"/>
                  </a:cubicBezTo>
                  <a:cubicBezTo>
                    <a:pt x="1430655" y="921639"/>
                    <a:pt x="1843278" y="509016"/>
                    <a:pt x="184327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D235D92-EEF5-E6E3-1A05-3EEC8D40E869}"/>
                </a:ext>
              </a:extLst>
            </p:cNvPr>
            <p:cNvSpPr>
              <a:spLocks/>
            </p:cNvSpPr>
            <p:nvPr/>
          </p:nvSpPr>
          <p:spPr>
            <a:xfrm rot="8480932">
              <a:off x="9991003" y="5774990"/>
              <a:ext cx="2940251" cy="1470125"/>
            </a:xfrm>
            <a:custGeom>
              <a:avLst/>
              <a:gdLst>
                <a:gd name="connsiteX0" fmla="*/ 0 w 1647063"/>
                <a:gd name="connsiteY0" fmla="*/ 0 h 823531"/>
                <a:gd name="connsiteX1" fmla="*/ 823531 w 1647063"/>
                <a:gd name="connsiteY1" fmla="*/ 823532 h 823531"/>
                <a:gd name="connsiteX2" fmla="*/ 1647063 w 1647063"/>
                <a:gd name="connsiteY2" fmla="*/ 0 h 82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7063" h="823531">
                  <a:moveTo>
                    <a:pt x="0" y="0"/>
                  </a:moveTo>
                  <a:cubicBezTo>
                    <a:pt x="0" y="454819"/>
                    <a:pt x="368713" y="823532"/>
                    <a:pt x="823531" y="823532"/>
                  </a:cubicBezTo>
                  <a:cubicBezTo>
                    <a:pt x="1278350" y="823532"/>
                    <a:pt x="1647063" y="454819"/>
                    <a:pt x="1647063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38EAC36-D283-4D76-7F1B-FD286AAB0B56}"/>
                </a:ext>
              </a:extLst>
            </p:cNvPr>
            <p:cNvSpPr>
              <a:spLocks/>
            </p:cNvSpPr>
            <p:nvPr/>
          </p:nvSpPr>
          <p:spPr>
            <a:xfrm rot="8480932">
              <a:off x="10221057" y="5931096"/>
              <a:ext cx="2589638" cy="1294818"/>
            </a:xfrm>
            <a:custGeom>
              <a:avLst/>
              <a:gdLst>
                <a:gd name="connsiteX0" fmla="*/ 0 w 1450657"/>
                <a:gd name="connsiteY0" fmla="*/ 0 h 725328"/>
                <a:gd name="connsiteX1" fmla="*/ 725329 w 1450657"/>
                <a:gd name="connsiteY1" fmla="*/ 725329 h 725328"/>
                <a:gd name="connsiteX2" fmla="*/ 1450658 w 1450657"/>
                <a:gd name="connsiteY2" fmla="*/ 0 h 725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0657" h="725328">
                  <a:moveTo>
                    <a:pt x="0" y="0"/>
                  </a:moveTo>
                  <a:cubicBezTo>
                    <a:pt x="0" y="400526"/>
                    <a:pt x="324707" y="725329"/>
                    <a:pt x="725329" y="725329"/>
                  </a:cubicBezTo>
                  <a:cubicBezTo>
                    <a:pt x="1125950" y="725329"/>
                    <a:pt x="1450658" y="400526"/>
                    <a:pt x="1450658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51388E-885A-B60B-59FC-71D3BC44A5C2}"/>
                </a:ext>
              </a:extLst>
            </p:cNvPr>
            <p:cNvSpPr>
              <a:spLocks/>
            </p:cNvSpPr>
            <p:nvPr/>
          </p:nvSpPr>
          <p:spPr>
            <a:xfrm rot="8480932">
              <a:off x="10451109" y="6087205"/>
              <a:ext cx="2239026" cy="1119511"/>
            </a:xfrm>
            <a:custGeom>
              <a:avLst/>
              <a:gdLst>
                <a:gd name="connsiteX0" fmla="*/ 0 w 1254252"/>
                <a:gd name="connsiteY0" fmla="*/ 0 h 627125"/>
                <a:gd name="connsiteX1" fmla="*/ 627126 w 1254252"/>
                <a:gd name="connsiteY1" fmla="*/ 627126 h 627125"/>
                <a:gd name="connsiteX2" fmla="*/ 1254252 w 1254252"/>
                <a:gd name="connsiteY2" fmla="*/ 0 h 6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4252" h="627125">
                  <a:moveTo>
                    <a:pt x="0" y="0"/>
                  </a:moveTo>
                  <a:cubicBezTo>
                    <a:pt x="0" y="346329"/>
                    <a:pt x="280797" y="627126"/>
                    <a:pt x="627126" y="627126"/>
                  </a:cubicBezTo>
                  <a:cubicBezTo>
                    <a:pt x="973455" y="627126"/>
                    <a:pt x="1254252" y="346329"/>
                    <a:pt x="1254252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8F7600B-4C80-34F2-C1E9-D8D5C836FAA6}"/>
                </a:ext>
              </a:extLst>
            </p:cNvPr>
            <p:cNvSpPr>
              <a:spLocks/>
            </p:cNvSpPr>
            <p:nvPr/>
          </p:nvSpPr>
          <p:spPr>
            <a:xfrm rot="8480932">
              <a:off x="10681162" y="6243311"/>
              <a:ext cx="1888412" cy="944206"/>
            </a:xfrm>
            <a:custGeom>
              <a:avLst/>
              <a:gdLst>
                <a:gd name="connsiteX0" fmla="*/ 0 w 1057846"/>
                <a:gd name="connsiteY0" fmla="*/ 0 h 528923"/>
                <a:gd name="connsiteX1" fmla="*/ 528923 w 1057846"/>
                <a:gd name="connsiteY1" fmla="*/ 528923 h 528923"/>
                <a:gd name="connsiteX2" fmla="*/ 1057847 w 1057846"/>
                <a:gd name="connsiteY2" fmla="*/ 0 h 52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846" h="528923">
                  <a:moveTo>
                    <a:pt x="0" y="0"/>
                  </a:moveTo>
                  <a:cubicBezTo>
                    <a:pt x="0" y="292132"/>
                    <a:pt x="236791" y="528923"/>
                    <a:pt x="528923" y="528923"/>
                  </a:cubicBezTo>
                  <a:cubicBezTo>
                    <a:pt x="821055" y="528923"/>
                    <a:pt x="1057847" y="292132"/>
                    <a:pt x="1057847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1DC170A-710E-65B8-9680-B706B305CE15}"/>
                </a:ext>
              </a:extLst>
            </p:cNvPr>
            <p:cNvSpPr>
              <a:spLocks/>
            </p:cNvSpPr>
            <p:nvPr/>
          </p:nvSpPr>
          <p:spPr>
            <a:xfrm rot="8480932">
              <a:off x="10911215" y="6399418"/>
              <a:ext cx="1537800" cy="768899"/>
            </a:xfrm>
            <a:custGeom>
              <a:avLst/>
              <a:gdLst>
                <a:gd name="connsiteX0" fmla="*/ 0 w 861441"/>
                <a:gd name="connsiteY0" fmla="*/ 0 h 430720"/>
                <a:gd name="connsiteX1" fmla="*/ 430721 w 861441"/>
                <a:gd name="connsiteY1" fmla="*/ 430721 h 430720"/>
                <a:gd name="connsiteX2" fmla="*/ 861441 w 861441"/>
                <a:gd name="connsiteY2" fmla="*/ 0 h 43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441" h="430720">
                  <a:moveTo>
                    <a:pt x="0" y="0"/>
                  </a:moveTo>
                  <a:cubicBezTo>
                    <a:pt x="0" y="237839"/>
                    <a:pt x="192881" y="430721"/>
                    <a:pt x="430721" y="430721"/>
                  </a:cubicBezTo>
                  <a:cubicBezTo>
                    <a:pt x="668560" y="430721"/>
                    <a:pt x="861441" y="237839"/>
                    <a:pt x="861441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09F4C45-1C42-F84E-0487-5B304D376269}"/>
                </a:ext>
              </a:extLst>
            </p:cNvPr>
            <p:cNvSpPr>
              <a:spLocks/>
            </p:cNvSpPr>
            <p:nvPr/>
          </p:nvSpPr>
          <p:spPr>
            <a:xfrm rot="8480932">
              <a:off x="11141268" y="6555525"/>
              <a:ext cx="1187186" cy="593592"/>
            </a:xfrm>
            <a:custGeom>
              <a:avLst/>
              <a:gdLst>
                <a:gd name="connsiteX0" fmla="*/ 0 w 665035"/>
                <a:gd name="connsiteY0" fmla="*/ 0 h 332517"/>
                <a:gd name="connsiteX1" fmla="*/ 332518 w 665035"/>
                <a:gd name="connsiteY1" fmla="*/ 332518 h 332517"/>
                <a:gd name="connsiteX2" fmla="*/ 665036 w 665035"/>
                <a:gd name="connsiteY2" fmla="*/ 0 h 3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35" h="332517">
                  <a:moveTo>
                    <a:pt x="0" y="0"/>
                  </a:moveTo>
                  <a:cubicBezTo>
                    <a:pt x="0" y="183642"/>
                    <a:pt x="148876" y="332518"/>
                    <a:pt x="332518" y="332518"/>
                  </a:cubicBezTo>
                  <a:cubicBezTo>
                    <a:pt x="516160" y="332518"/>
                    <a:pt x="665036" y="183642"/>
                    <a:pt x="665036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D8F5F72-6738-C173-A435-04636838A972}"/>
                </a:ext>
              </a:extLst>
            </p:cNvPr>
            <p:cNvSpPr>
              <a:spLocks/>
            </p:cNvSpPr>
            <p:nvPr/>
          </p:nvSpPr>
          <p:spPr>
            <a:xfrm rot="8480932">
              <a:off x="11371319" y="6711632"/>
              <a:ext cx="836574" cy="418287"/>
            </a:xfrm>
            <a:custGeom>
              <a:avLst/>
              <a:gdLst>
                <a:gd name="connsiteX0" fmla="*/ 0 w 468630"/>
                <a:gd name="connsiteY0" fmla="*/ 0 h 234315"/>
                <a:gd name="connsiteX1" fmla="*/ 234315 w 468630"/>
                <a:gd name="connsiteY1" fmla="*/ 234315 h 234315"/>
                <a:gd name="connsiteX2" fmla="*/ 468630 w 468630"/>
                <a:gd name="connsiteY2" fmla="*/ 0 h 23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630" h="234315">
                  <a:moveTo>
                    <a:pt x="0" y="0"/>
                  </a:moveTo>
                  <a:cubicBezTo>
                    <a:pt x="0" y="129445"/>
                    <a:pt x="104966" y="234315"/>
                    <a:pt x="234315" y="234315"/>
                  </a:cubicBezTo>
                  <a:cubicBezTo>
                    <a:pt x="363664" y="234315"/>
                    <a:pt x="468630" y="129350"/>
                    <a:pt x="468630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2E72990-51E9-ABB6-79AF-DEF0716FC5FC}"/>
                </a:ext>
              </a:extLst>
            </p:cNvPr>
            <p:cNvSpPr>
              <a:spLocks/>
            </p:cNvSpPr>
            <p:nvPr/>
          </p:nvSpPr>
          <p:spPr>
            <a:xfrm rot="8480932">
              <a:off x="11601372" y="6867739"/>
              <a:ext cx="485960" cy="242980"/>
            </a:xfrm>
            <a:custGeom>
              <a:avLst/>
              <a:gdLst>
                <a:gd name="connsiteX0" fmla="*/ 0 w 272224"/>
                <a:gd name="connsiteY0" fmla="*/ 0 h 136112"/>
                <a:gd name="connsiteX1" fmla="*/ 136112 w 272224"/>
                <a:gd name="connsiteY1" fmla="*/ 136112 h 136112"/>
                <a:gd name="connsiteX2" fmla="*/ 272225 w 272224"/>
                <a:gd name="connsiteY2" fmla="*/ 0 h 13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224" h="136112">
                  <a:moveTo>
                    <a:pt x="0" y="0"/>
                  </a:moveTo>
                  <a:cubicBezTo>
                    <a:pt x="0" y="75152"/>
                    <a:pt x="60960" y="136112"/>
                    <a:pt x="136112" y="136112"/>
                  </a:cubicBezTo>
                  <a:cubicBezTo>
                    <a:pt x="211265" y="136112"/>
                    <a:pt x="272225" y="75152"/>
                    <a:pt x="272225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CB9F6DF-DA94-F01C-DBCB-5660A7AB4585}"/>
                </a:ext>
              </a:extLst>
            </p:cNvPr>
            <p:cNvSpPr>
              <a:spLocks/>
            </p:cNvSpPr>
            <p:nvPr userDrawn="1"/>
          </p:nvSpPr>
          <p:spPr>
            <a:xfrm rot="8480932">
              <a:off x="11831203" y="7023695"/>
              <a:ext cx="135687" cy="67843"/>
            </a:xfrm>
            <a:custGeom>
              <a:avLst/>
              <a:gdLst>
                <a:gd name="connsiteX0" fmla="*/ 0 w 76009"/>
                <a:gd name="connsiteY0" fmla="*/ 0 h 38004"/>
                <a:gd name="connsiteX1" fmla="*/ 38005 w 76009"/>
                <a:gd name="connsiteY1" fmla="*/ 38005 h 38004"/>
                <a:gd name="connsiteX2" fmla="*/ 76009 w 76009"/>
                <a:gd name="connsiteY2" fmla="*/ 0 h 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009" h="38004">
                  <a:moveTo>
                    <a:pt x="0" y="0"/>
                  </a:moveTo>
                  <a:cubicBezTo>
                    <a:pt x="0" y="20955"/>
                    <a:pt x="16954" y="38005"/>
                    <a:pt x="38005" y="38005"/>
                  </a:cubicBezTo>
                  <a:cubicBezTo>
                    <a:pt x="59055" y="38005"/>
                    <a:pt x="76009" y="21050"/>
                    <a:pt x="76009" y="0"/>
                  </a:cubicBezTo>
                </a:path>
              </a:pathLst>
            </a:custGeom>
            <a:noFill/>
            <a:ln w="12700" cap="flat">
              <a:gradFill flip="none" rotWithShape="1">
                <a:gsLst>
                  <a:gs pos="0">
                    <a:srgbClr val="D0CB17"/>
                  </a:gs>
                  <a:gs pos="100000">
                    <a:schemeClr val="bg1"/>
                  </a:gs>
                </a:gsLst>
                <a:lin ang="15000000" scaled="0"/>
                <a:tileRect/>
              </a:gra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Light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3D9B002-27AF-57D0-4D06-87EE78C2D63A}"/>
              </a:ext>
            </a:extLst>
          </p:cNvPr>
          <p:cNvSpPr txBox="1"/>
          <p:nvPr/>
        </p:nvSpPr>
        <p:spPr>
          <a:xfrm>
            <a:off x="295564" y="184727"/>
            <a:ext cx="2466109" cy="11637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88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3612A9-D39A-DE80-E402-8089DD65810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7550" t="114848" r="12386" b="-65848"/>
          <a:stretch/>
        </p:blipFill>
        <p:spPr>
          <a:xfrm>
            <a:off x="6101516" y="3411564"/>
            <a:ext cx="3552646" cy="1515621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F06890B-5968-15CA-C462-30913745CC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587311"/>
              </p:ext>
            </p:extLst>
          </p:nvPr>
        </p:nvGraphicFramePr>
        <p:xfrm>
          <a:off x="1756699" y="1394979"/>
          <a:ext cx="5372888" cy="1188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72888">
                  <a:extLst>
                    <a:ext uri="{9D8B030D-6E8A-4147-A177-3AD203B41FA5}">
                      <a16:colId xmlns:a16="http://schemas.microsoft.com/office/drawing/2014/main" val="3780671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4600" b="1" kern="1200">
                          <a:solidFill>
                            <a:srgbClr val="09544F"/>
                          </a:solidFill>
                          <a:latin typeface="Poppins"/>
                          <a:ea typeface="+mj-ea"/>
                          <a:cs typeface="Poppins"/>
                        </a:rPr>
                        <a:t>From: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661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2000">
                        <a:effectLst/>
                        <a:latin typeface="Poppin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6413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15F1F1A-8D54-76A6-1965-9DE8D994CC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660739"/>
              </p:ext>
            </p:extLst>
          </p:nvPr>
        </p:nvGraphicFramePr>
        <p:xfrm>
          <a:off x="8255295" y="1319600"/>
          <a:ext cx="5372888" cy="1188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72888">
                  <a:extLst>
                    <a:ext uri="{9D8B030D-6E8A-4147-A177-3AD203B41FA5}">
                      <a16:colId xmlns:a16="http://schemas.microsoft.com/office/drawing/2014/main" val="2409411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4600" b="1" kern="1200">
                          <a:solidFill>
                            <a:srgbClr val="09544F"/>
                          </a:solidFill>
                          <a:latin typeface="Poppins"/>
                          <a:ea typeface="+mj-ea"/>
                          <a:cs typeface="Poppins"/>
                        </a:rPr>
                        <a:t>To: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2661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2000">
                        <a:effectLst/>
                        <a:latin typeface="Poppin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188338"/>
                  </a:ext>
                </a:extLst>
              </a:tr>
            </a:tbl>
          </a:graphicData>
        </a:graphic>
      </p:graphicFrame>
      <p:sp>
        <p:nvSpPr>
          <p:cNvPr id="7" name="object 5">
            <a:extLst>
              <a:ext uri="{FF2B5EF4-FFF2-40B4-BE49-F238E27FC236}">
                <a16:creationId xmlns:a16="http://schemas.microsoft.com/office/drawing/2014/main" id="{4ED447E3-69A4-9B2E-2972-7D65BB77C2A9}"/>
              </a:ext>
            </a:extLst>
          </p:cNvPr>
          <p:cNvSpPr/>
          <p:nvPr/>
        </p:nvSpPr>
        <p:spPr>
          <a:xfrm>
            <a:off x="6589406" y="2533446"/>
            <a:ext cx="5294748" cy="2379632"/>
          </a:xfrm>
          <a:prstGeom prst="round2DiagRect">
            <a:avLst/>
          </a:prstGeom>
          <a:gradFill flip="none" rotWithShape="1">
            <a:gsLst>
              <a:gs pos="0">
                <a:srgbClr val="1FA29C"/>
              </a:gs>
              <a:gs pos="100000">
                <a:srgbClr val="21568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effectLst/>
                <a:latin typeface="Poppins"/>
              </a:rPr>
              <a:t>Improved </a:t>
            </a:r>
            <a:r>
              <a:rPr lang="en-US">
                <a:latin typeface="Poppins"/>
              </a:rPr>
              <a:t>and targeted visibility </a:t>
            </a:r>
            <a:r>
              <a:rPr lang="en-US" sz="1800">
                <a:effectLst/>
                <a:latin typeface="Poppins"/>
              </a:rPr>
              <a:t>and understanding of the catalytic role played by the GFF model, enabling the GFF to mobilize resources for countries to drive impact for women, children and adolescents</a:t>
            </a:r>
            <a:endParaRPr lang="en-US" sz="1800">
              <a:effectLst/>
              <a:latin typeface="Poppins"/>
              <a:cs typeface="Poppins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CEB7547-4A4B-B2F9-6F55-228FAE41CA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907225"/>
              </p:ext>
            </p:extLst>
          </p:nvPr>
        </p:nvGraphicFramePr>
        <p:xfrm>
          <a:off x="295564" y="130880"/>
          <a:ext cx="5372888" cy="1188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72888">
                  <a:extLst>
                    <a:ext uri="{9D8B030D-6E8A-4147-A177-3AD203B41FA5}">
                      <a16:colId xmlns:a16="http://schemas.microsoft.com/office/drawing/2014/main" val="3780671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4600" b="1" kern="1200">
                          <a:solidFill>
                            <a:srgbClr val="09544F"/>
                          </a:solidFill>
                          <a:latin typeface="Poppins"/>
                          <a:ea typeface="+mj-ea"/>
                          <a:cs typeface="Poppins"/>
                        </a:rPr>
                        <a:t>Movi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661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2000">
                        <a:effectLst/>
                        <a:latin typeface="Poppin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64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4395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DD8519-DEF4-8AB9-3356-2EEEFE351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789985-7C56-6071-2C5C-D54D6EC012E6}"/>
              </a:ext>
            </a:extLst>
          </p:cNvPr>
          <p:cNvSpPr/>
          <p:nvPr/>
        </p:nvSpPr>
        <p:spPr>
          <a:xfrm>
            <a:off x="780048" y="1458686"/>
            <a:ext cx="11084509" cy="4212771"/>
          </a:xfrm>
          <a:prstGeom prst="roundRect">
            <a:avLst>
              <a:gd name="adj" fmla="val 6397"/>
            </a:avLst>
          </a:prstGeom>
          <a:solidFill>
            <a:srgbClr val="E1F1F3">
              <a:alpha val="39999"/>
            </a:srgbClr>
          </a:solidFill>
        </p:spPr>
        <p:txBody>
          <a:bodyPr wrap="square" lIns="182880" tIns="457200" rIns="18288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FA19C"/>
              </a:buClr>
              <a:buSzTx/>
              <a:tabLst>
                <a:tab pos="756285" algn="l"/>
              </a:tabLst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 "/>
              <a:cs typeface="Poppins" panose="00000500000000000000" pitchFamily="2" charset="0"/>
              <a:sym typeface="Arial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C2882C8-5944-1B2D-1C8D-04B75545444B}"/>
              </a:ext>
            </a:extLst>
          </p:cNvPr>
          <p:cNvSpPr txBox="1">
            <a:spLocks/>
          </p:cNvSpPr>
          <p:nvPr/>
        </p:nvSpPr>
        <p:spPr>
          <a:xfrm>
            <a:off x="780048" y="363206"/>
            <a:ext cx="11084509" cy="134709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9544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>
                <a:latin typeface="Poppins"/>
                <a:cs typeface="Poppins"/>
              </a:rPr>
              <a:t>Why This Matters – The “Why” Behind Visibility</a:t>
            </a:r>
          </a:p>
          <a:p>
            <a:pPr marL="285750" indent="-285750">
              <a:buFont typeface="Arial"/>
              <a:buChar char="•"/>
              <a:defRPr/>
            </a:pPr>
            <a:endParaRPr lang="en-US" sz="3500" b="1">
              <a:latin typeface="Poppins"/>
              <a:cs typeface="Poppins"/>
            </a:endParaRPr>
          </a:p>
          <a:p>
            <a:pPr marL="285750" indent="-285750">
              <a:buFont typeface="Arial"/>
              <a:buChar char="•"/>
              <a:defRPr/>
            </a:pPr>
            <a:endParaRPr lang="en-US" sz="3500" b="1">
              <a:latin typeface="Poppins"/>
              <a:cs typeface="Poppins"/>
            </a:endParaRPr>
          </a:p>
          <a:p>
            <a:pPr>
              <a:defRPr/>
            </a:pPr>
            <a:endParaRPr lang="en-US" sz="3500" b="1">
              <a:latin typeface="Poppins"/>
              <a:cs typeface="Poppi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B8E483-6726-F84D-CBD2-CC6C1F5DABA0}"/>
              </a:ext>
            </a:extLst>
          </p:cNvPr>
          <p:cNvSpPr txBox="1"/>
          <p:nvPr/>
        </p:nvSpPr>
        <p:spPr>
          <a:xfrm>
            <a:off x="1076593" y="1819713"/>
            <a:ext cx="10919465" cy="35007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lnSpc>
                <a:spcPts val="2175"/>
              </a:lnSpc>
              <a:buSzPct val="110000"/>
              <a:buFont typeface="Arial" panose="020B0604020202020204" pitchFamily="34" charset="0"/>
              <a:buChar char="•"/>
            </a:pPr>
            <a:r>
              <a:rPr lang="en-US" sz="2600">
                <a:solidFill>
                  <a:schemeClr val="dk1"/>
                </a:solidFill>
                <a:latin typeface="Poppins"/>
              </a:rPr>
              <a:t>Visibility → Credibility → Support → Impact​</a:t>
            </a:r>
            <a:endParaRPr lang="en-US" sz="2600">
              <a:solidFill>
                <a:schemeClr val="dk1"/>
              </a:solidFill>
              <a:latin typeface="Poppins"/>
              <a:cs typeface="Poppins"/>
            </a:endParaRPr>
          </a:p>
          <a:p>
            <a:pPr>
              <a:lnSpc>
                <a:spcPts val="2175"/>
              </a:lnSpc>
            </a:pPr>
            <a:endParaRPr lang="en-US" sz="2600">
              <a:solidFill>
                <a:schemeClr val="dk1"/>
              </a:solidFill>
              <a:latin typeface="Poppins"/>
              <a:cs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endParaRPr lang="en-US" sz="2600">
              <a:solidFill>
                <a:schemeClr val="dk1"/>
              </a:solidFill>
              <a:latin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r>
              <a:rPr lang="en-US" sz="2600">
                <a:solidFill>
                  <a:schemeClr val="dk1"/>
                </a:solidFill>
                <a:latin typeface="Poppins"/>
              </a:rPr>
              <a:t>Sustaining current donor interest and trust in GFF demands visibility, also at country level</a:t>
            </a: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endParaRPr lang="en-US" sz="2600">
              <a:solidFill>
                <a:schemeClr val="dk1"/>
              </a:solidFill>
              <a:latin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endParaRPr lang="en-US" sz="2600">
              <a:solidFill>
                <a:schemeClr val="dk1"/>
              </a:solidFill>
              <a:latin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r>
              <a:rPr lang="en-US" sz="2600">
                <a:solidFill>
                  <a:schemeClr val="dk1"/>
                </a:solidFill>
                <a:latin typeface="Poppins"/>
              </a:rPr>
              <a:t>Mobilizing new investment requires brand recognition of GFF and its impact </a:t>
            </a:r>
          </a:p>
          <a:p>
            <a:pPr>
              <a:lnSpc>
                <a:spcPts val="2175"/>
              </a:lnSpc>
            </a:pPr>
            <a:endParaRPr lang="en-US" sz="2600">
              <a:solidFill>
                <a:schemeClr val="dk1"/>
              </a:solidFill>
              <a:latin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endParaRPr lang="en-US" sz="2600">
              <a:solidFill>
                <a:schemeClr val="dk1"/>
              </a:solidFill>
              <a:latin typeface="Poppins"/>
            </a:endParaRPr>
          </a:p>
          <a:p>
            <a:pPr marL="457200" indent="-457200">
              <a:lnSpc>
                <a:spcPts val="2175"/>
              </a:lnSpc>
              <a:buFont typeface="Arial"/>
              <a:buChar char="•"/>
            </a:pPr>
            <a:r>
              <a:rPr lang="en-US" sz="2600">
                <a:solidFill>
                  <a:schemeClr val="dk1"/>
                </a:solidFill>
                <a:latin typeface="Poppins"/>
              </a:rPr>
              <a:t>Major shifts in ODA landscape</a:t>
            </a:r>
            <a:endParaRPr lang="en-US" sz="2600">
              <a:solidFill>
                <a:schemeClr val="dk1"/>
              </a:solidFill>
              <a:latin typeface="Poppins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21088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AC81B-ACB9-C8D8-6B00-8CB73DC71E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AC81B-ACB9-C8D8-6B00-8CB73DC71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D4AE303B-FEDE-874B-2335-40370B0F7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8" y="414000"/>
            <a:ext cx="11386800" cy="909976"/>
          </a:xfrm>
        </p:spPr>
        <p:txBody>
          <a:bodyPr vert="horz">
            <a:normAutofit fontScale="90000"/>
          </a:bodyPr>
          <a:lstStyle/>
          <a:p>
            <a:r>
              <a:rPr lang="en-US" sz="3500" b="1">
                <a:solidFill>
                  <a:srgbClr val="09544F"/>
                </a:solidFill>
                <a:latin typeface="Poppins"/>
                <a:cs typeface="Poppins"/>
              </a:rPr>
              <a:t>RMNCAH-N global funding from the top 10 sovereign donors is expected to fall by at least 37% over 5 yea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A3335F-7837-7B7A-511A-E14861257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F1F962-6FCF-4ED9-AB1A-FC8E17859AF0}" type="slidenum">
              <a:rPr lang="en-US" noProof="0" smtClean="0"/>
              <a:pPr/>
              <a:t>4</a:t>
            </a:fld>
            <a:endParaRPr lang="en-US" noProof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E57E6EFB-934E-EF6B-04A3-5F9A98E8F33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31788" y="2314575"/>
          <a:ext cx="5849937" cy="3336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55638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3FA991-6307-4B97-AABF-FF35EFC53C2F}" type="datetime'''''''''''''''''''2''''02''''''''3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03375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5E510C-72D4-4A8E-A74F-CF28C6AE6714}" type="datetime'''''''''''''''''''20''''''''''''''''2''''4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400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51113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5CD209-498B-4C10-8635-11BC5172C650}" type="datetime'''''''''''''''''''''''2''''''''''''''0''''''2''5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noProof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77A7CDD-E031-FCC8-2C38-8A9BB835295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498850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848441-DAA7-4CB0-914A-39F931331878}" type="datetime'''''''''''''''''''''''''''''2''''0''''''''''''''''2''''6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noProof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ADA1181-C268-B4AC-EC52-17A52BC05E3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445000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7708C3F-2F27-4352-AC68-E0A71563342A}" type="datetime'''''''''''''''''2''0''''''2''''''''''''''''''''''''''''''''7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noProof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2497116-6877-8AF2-ACBB-182FBED98F8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92738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BDC8A9A-7DB9-4723-900B-562B176038F0}" type="datetime'''''''''''''''''''''2''''''''0''''''''''''''''28''''''''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noProof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60400" y="2368550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0E14CD-ACB1-4C7E-8A4D-2AE208BCA54F}" type="datetime'''''''''''''''''''''''''''''''''''''''''''''8.''3''''''8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8.38</a:t>
            </a:fld>
            <a:endParaRPr lang="en-US" sz="1400" noProof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08138" y="2159000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8D4E95-DD79-4EC3-B37F-D780CDB0B3BC}" type="datetime'''''8''''''.''''''''98''''''''''''''''''''''''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8.98</a:t>
            </a:fld>
            <a:endParaRPr lang="en-US" sz="1400" noProof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55875" y="3244850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FE9C86-F22E-49CC-8107-DC92D6524CC6}" type="datetime'''5.9''''0'''''''''''''''''''''''''''''''''''''">
              <a:rPr lang="en-US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5.90</a:t>
            </a:fld>
            <a:endParaRPr lang="en-US" sz="1400" noProof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03613" y="3333750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86F419D-EC3F-40A0-B9DB-1182BB480264}" type="datetime'''''''''''''''''''''''5''''''''''''''''''''.''6''''''5'''''''">
              <a:rPr lang="en-US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5.65</a:t>
            </a:fld>
            <a:endParaRPr lang="en-US" sz="1400" noProof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449763" y="34623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189E1E-C764-4EBB-B270-85BC724BB309}" type="datetime'''''''5.''''''''''''''''2''''''''''''9'''''''''''''''''''">
              <a:rPr lang="en-US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5.29</a:t>
            </a:fld>
            <a:endParaRPr lang="en-US" sz="1400" noProof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CF0925B-A009-4DB2-A482-91CF1794414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397500" y="3457575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2AC6C5-E2EE-46D1-9489-A90DE41D74A3}" type="datetime'''''''''''''''5''.3''''''''0'''">
              <a:rPr lang="en-US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5.30</a:t>
            </a:fld>
            <a:endParaRPr lang="en-US" sz="1400" noProof="0"/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CF7148D-E6ED-E01A-3DA3-16DAB6359895}"/>
              </a:ext>
            </a:extLst>
          </p:cNvPr>
          <p:cNvSpPr txBox="1"/>
          <p:nvPr/>
        </p:nvSpPr>
        <p:spPr>
          <a:xfrm>
            <a:off x="413998" y="1687159"/>
            <a:ext cx="4935924" cy="431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noProof="0">
                <a:solidFill>
                  <a:schemeClr val="tx2"/>
                </a:solidFill>
              </a:rPr>
              <a:t>Funding from top 10 sovereign donors to RMNCAH-N</a:t>
            </a:r>
          </a:p>
          <a:p>
            <a:pPr algn="l"/>
            <a:r>
              <a:rPr lang="en-US" sz="1400" noProof="0">
                <a:solidFill>
                  <a:schemeClr val="tx2"/>
                </a:solidFill>
              </a:rPr>
              <a:t>$B, constant 2022 prices</a:t>
            </a: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ADAD0EF3-9D6E-8C81-EEF4-D4C275D46EE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088313" y="2493963"/>
            <a:ext cx="379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1015C531-62FE-6688-831D-CD7CEE76283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943975" y="3505200"/>
            <a:ext cx="381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56120364-26AD-D44B-9C67-963BE6A7FEC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801225" y="3716338"/>
            <a:ext cx="379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0A8356E6-7CB9-4E3A-C38A-E0AEA816496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656888" y="3624263"/>
            <a:ext cx="381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A3171667-85A5-0FF3-6B26-B472350B768B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43539740"/>
              </p:ext>
            </p:extLst>
          </p:nvPr>
        </p:nvGraphicFramePr>
        <p:xfrm>
          <a:off x="7339013" y="2411413"/>
          <a:ext cx="4448175" cy="324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59A38FAC-81DD-2F85-0D84-4361C7B7C16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9563100" y="36401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C65084F3-8A22-621C-37A8-C50E244DCA8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418763" y="3598863"/>
            <a:ext cx="0" cy="71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AD706E96-C8FC-C391-65B7-AFDF723C01D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618413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9AD850-4360-4A2B-BCAA-FF4594BE882E}" type="datetime'''2''''''''''''''''''''''''''02''''''''''''''3''''''''''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 noProof="0"/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65CD965F-7BC0-5534-109B-8027F6BF2D8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478838" y="2892425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en-US" sz="1400" noProof="0">
              <a:solidFill>
                <a:schemeClr val="bg1"/>
              </a:solidFill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FB20A0D5-243B-EE0D-64E5-4E2AE85D36B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574088" y="5627688"/>
            <a:ext cx="265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en-US" sz="1400" noProof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2B91FACE-C4EC-2165-3CAC-EC2F924A3AE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336088" y="37417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A75D8AB-F971-42EA-8379-1A5F02C0CE8B}" type="datetime'''''''''0''''''''''''''''''''''.''''''''''5''''''''''''7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0.57</a:t>
            </a:fld>
            <a:endParaRPr lang="en-US" sz="1400" noProof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F0F74F8-83BF-66C6-B4C5-E9B4A388BD4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202738" y="5627688"/>
            <a:ext cx="722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B994F1-D2EF-4E32-9884-357EFBABB95D}" type="datetime'O''''''t''''''''''''h''''er''''''''''s''''''*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Others*</a:t>
            </a:fld>
            <a:endParaRPr lang="en-US" sz="1400" noProof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4FEE3ABF-3BC7-C801-9889-81C4C58002B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191750" y="33861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9528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86A075-1968-421D-ACB2-47CAB2D61E45}" type="datetime'''''''''''''''0''''''''''''.''''''''''''25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1400" noProof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F76FCC07-E065-2623-03BF-7802DAFB176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079038" y="5627688"/>
            <a:ext cx="6794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E333DB-9143-4367-9CD7-88C1155FEE41}" type="datetime'''J''ap''''''''''an'','''' C''a''''''n''''''''''''''''a''da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Japan, Canada</a:t>
            </a:fld>
            <a:endParaRPr lang="en-US" sz="1400" noProof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718C3C99-655C-9AA1-ED6C-BA00006D7FB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044238" y="56276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44A59A-9092-4D86-BED9-60B6C701ABE8}" type="datetime'2''''''''''''0''''''''''''''2''''8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noProof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E840B418-FED9-82C7-9FAA-90B4E2205AB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623175" y="22558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B0243A-794E-4988-88A4-836D44E94086}" type="datetime'''''''''''''8.''''''''''''''''''''''''''''''3''8'''''''''">
              <a:rPr lang="en-US" sz="1400" noProof="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8.38</a:t>
            </a:fld>
            <a:endParaRPr lang="en-US" sz="1400" noProof="0"/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80E5DE45-A8DD-233A-947F-ECE73677733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1049000" y="3386138"/>
            <a:ext cx="454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>
                <a:schemeClr val="tx2"/>
              </a:buClr>
              <a:buSzPct val="110000"/>
              <a:buFont typeface="Poppins" panose="00000500000000000000" pitchFamily="2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4A2BA2-0BB0-482A-B1B1-4ABF3C449D4B}" type="datetime'''''''''''''''''5''''''''.''''''''''''''30'''''''''''''''''''">
              <a:rPr lang="en-US" altLang="en-US" sz="1400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5.30</a:t>
            </a:fld>
            <a:endParaRPr lang="en-US" sz="1400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0BEB73-FFB3-7400-A32A-2FC684E4A704}"/>
              </a:ext>
            </a:extLst>
          </p:cNvPr>
          <p:cNvSpPr txBox="1"/>
          <p:nvPr/>
        </p:nvSpPr>
        <p:spPr>
          <a:xfrm>
            <a:off x="720718" y="6378863"/>
            <a:ext cx="10750563" cy="3445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noProof="0">
                <a:solidFill>
                  <a:schemeClr val="tx2"/>
                </a:solidFill>
              </a:rPr>
              <a:t>Source: 2023: Institute for Health Metrics and Evaluation (2024). Development Assistance to Health Database. 2024-2028: SEEK‘s estimates extrapolated based on overall ODA projection and expected prioritization of global health and RMNCAH-N within development funding. ODA projections are based on OECD, IMF, and government sources. See Methodology in Annex for more information. *Others: UK, Germany, France, Netherlands, Norway, Sweden, Australia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D64BACBA-062D-5ADB-39DD-58D68F2FF93D}"/>
              </a:ext>
            </a:extLst>
          </p:cNvPr>
          <p:cNvSpPr/>
          <p:nvPr/>
        </p:nvSpPr>
        <p:spPr>
          <a:xfrm rot="5400000">
            <a:off x="3625645" y="3707851"/>
            <a:ext cx="177253" cy="4489929"/>
          </a:xfrm>
          <a:prstGeom prst="rightBrace">
            <a:avLst/>
          </a:prstGeom>
          <a:ln>
            <a:solidFill>
              <a:srgbClr val="0F8B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A307A2-F6BA-590B-094E-A11CB2D40898}"/>
              </a:ext>
            </a:extLst>
          </p:cNvPr>
          <p:cNvSpPr txBox="1"/>
          <p:nvPr/>
        </p:nvSpPr>
        <p:spPr>
          <a:xfrm>
            <a:off x="2853444" y="6065218"/>
            <a:ext cx="1721652" cy="1934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noProof="0">
                <a:solidFill>
                  <a:srgbClr val="0F8B7F"/>
                </a:solidFill>
              </a:rPr>
              <a:t>Projected funding</a:t>
            </a:r>
          </a:p>
        </p:txBody>
      </p:sp>
    </p:spTree>
    <p:extLst>
      <p:ext uri="{BB962C8B-B14F-4D97-AF65-F5344CB8AC3E}">
        <p14:creationId xmlns:p14="http://schemas.microsoft.com/office/powerpoint/2010/main" val="179096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6AE03-C4CF-387D-4389-675454F05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75A28F4-5710-4201-92E8-83E214ABA76C}"/>
              </a:ext>
            </a:extLst>
          </p:cNvPr>
          <p:cNvSpPr txBox="1"/>
          <p:nvPr/>
        </p:nvSpPr>
        <p:spPr>
          <a:xfrm>
            <a:off x="825079" y="2071577"/>
            <a:ext cx="6128656" cy="258532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</a:rPr>
              <a:t>How to Join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effectLst/>
                <a:latin typeface="Poppins"/>
                <a:cs typeface="Poppins"/>
              </a:rPr>
              <a:t>Mentimeter</a:t>
            </a:r>
            <a:endParaRPr lang="en-US" altLang="en-US" sz="2000" b="1" i="0" u="none" strike="noStrike" cap="none" normalizeH="0" baseline="0" dirty="0">
              <a:ln>
                <a:noFill/>
              </a:ln>
              <a:effectLst/>
              <a:latin typeface="Poppins"/>
              <a:cs typeface="Poppi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2000" b="1" i="0" u="none" strike="noStrike" cap="none" normalizeH="0" baseline="0" dirty="0">
              <a:ln>
                <a:noFill/>
              </a:ln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</a:rPr>
              <a:t>Go to: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enti.com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effectLst/>
              <a:latin typeface="Poppins"/>
              <a:cs typeface="Poppi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</a:rPr>
              <a:t>Enter the code: 7673 645</a:t>
            </a:r>
            <a:endParaRPr lang="en-US" altLang="en-US" sz="2600" b="0" i="0" u="none" strike="noStrike" cap="none" normalizeH="0" baseline="0" dirty="0">
              <a:ln>
                <a:noFill/>
              </a:ln>
              <a:effectLst/>
              <a:highlight>
                <a:srgbClr val="FFFF00"/>
              </a:highlight>
              <a:latin typeface="Poppins"/>
              <a:cs typeface="Poppi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endParaRPr lang="en-US" altLang="en-US" i="1" dirty="0">
              <a:highlight>
                <a:srgbClr val="FFFF00"/>
              </a:highlight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Poppins"/>
                <a:cs typeface="Poppins"/>
              </a:rPr>
              <a:t>Submit your response and see it appear in real time</a:t>
            </a:r>
            <a:endParaRPr lang="en-US" sz="2000" dirty="0">
              <a:latin typeface="Poppins"/>
              <a:cs typeface="Poppi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B8BDDB-C341-64AD-EB4E-E65A02D9C6CA}"/>
              </a:ext>
            </a:extLst>
          </p:cNvPr>
          <p:cNvSpPr txBox="1"/>
          <p:nvPr/>
        </p:nvSpPr>
        <p:spPr>
          <a:xfrm>
            <a:off x="5634990" y="5106082"/>
            <a:ext cx="74523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You can join from your phone, tablet, or laptop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i="1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’ll activate the </a:t>
            </a:r>
            <a:r>
              <a:rPr kumimoji="0" lang="en-US" altLang="en-US" sz="18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entimeter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hortl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39667E-FC35-5226-C41D-4AC86412B0E3}"/>
              </a:ext>
            </a:extLst>
          </p:cNvPr>
          <p:cNvSpPr txBox="1"/>
          <p:nvPr/>
        </p:nvSpPr>
        <p:spPr>
          <a:xfrm>
            <a:off x="555720" y="549101"/>
            <a:ext cx="11506199" cy="63094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500" b="1">
                <a:solidFill>
                  <a:srgbClr val="09544F"/>
                </a:solidFill>
                <a:latin typeface="Poppins"/>
                <a:ea typeface="+mj-ea"/>
                <a:cs typeface="Poppins"/>
              </a:rPr>
              <a:t>Interactive Activity</a:t>
            </a:r>
          </a:p>
        </p:txBody>
      </p:sp>
      <p:pic>
        <p:nvPicPr>
          <p:cNvPr id="6146" name="Picture 2" descr="📊 Mentimeter - Wakelet">
            <a:extLst>
              <a:ext uri="{FF2B5EF4-FFF2-40B4-BE49-F238E27FC236}">
                <a16:creationId xmlns:a16="http://schemas.microsoft.com/office/drawing/2014/main" id="{7C21E08B-876A-9BC9-F5EB-41839975E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978" y="213062"/>
            <a:ext cx="1736757" cy="1303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phic 12" descr="Social network outline">
            <a:extLst>
              <a:ext uri="{FF2B5EF4-FFF2-40B4-BE49-F238E27FC236}">
                <a16:creationId xmlns:a16="http://schemas.microsoft.com/office/drawing/2014/main" id="{17FE7819-F9B3-8488-663F-6673E6982A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280" y="5106082"/>
            <a:ext cx="914400" cy="914400"/>
          </a:xfrm>
          <a:prstGeom prst="rect">
            <a:avLst/>
          </a:prstGeom>
        </p:spPr>
      </p:pic>
      <p:pic>
        <p:nvPicPr>
          <p:cNvPr id="6" name="Picture 5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2E27CAA0-7A05-4E17-3368-FEB0FB5924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966" y="549101"/>
            <a:ext cx="4071027" cy="407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025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25A542-D6D8-CE90-5890-8AE56C80AD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1C59F-EC51-638B-65A8-8D542FD49B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1C59F-EC51-638B-65A8-8D542FD49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66E16F6-CA72-7AEF-9F85-3AAFE8DADB89}"/>
              </a:ext>
            </a:extLst>
          </p:cNvPr>
          <p:cNvSpPr txBox="1"/>
          <p:nvPr/>
        </p:nvSpPr>
        <p:spPr>
          <a:xfrm>
            <a:off x="401649" y="262005"/>
            <a:ext cx="611777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Group discussion</a:t>
            </a:r>
            <a:endParaRPr lang="en-US" sz="4000" b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532723-51E1-E12F-9C31-C877761B7A5B}"/>
              </a:ext>
            </a:extLst>
          </p:cNvPr>
          <p:cNvSpPr txBox="1"/>
          <p:nvPr/>
        </p:nvSpPr>
        <p:spPr>
          <a:xfrm>
            <a:off x="1373594" y="5245235"/>
            <a:ext cx="9326754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800" i="1">
                <a:solidFill>
                  <a:schemeClr val="bg1"/>
                </a:solidFill>
              </a:rPr>
              <a:t>Take 10 minutes for your discussion at your table</a:t>
            </a:r>
            <a:r>
              <a:rPr lang="en-US" i="1">
                <a:solidFill>
                  <a:schemeClr val="bg1"/>
                </a:solidFill>
              </a:rPr>
              <a:t>, focusing on the short and longer term opportunities you see that will enhance GFF's country level visibility</a:t>
            </a:r>
            <a:r>
              <a:rPr lang="en-US" sz="1800" i="1">
                <a:solidFill>
                  <a:schemeClr val="bg1"/>
                </a:solidFill>
              </a:rPr>
              <a:t>. At the end, choose one person from your table to briefly report back to the larger group with your key takeaways</a:t>
            </a:r>
            <a:endParaRPr lang="en-US" i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EA8700-ACD6-30E5-4FFB-104DBDDBA688}"/>
              </a:ext>
            </a:extLst>
          </p:cNvPr>
          <p:cNvSpPr txBox="1"/>
          <p:nvPr/>
        </p:nvSpPr>
        <p:spPr>
          <a:xfrm>
            <a:off x="960664" y="2721467"/>
            <a:ext cx="9465129" cy="252376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>
                <a:solidFill>
                  <a:schemeClr val="bg1"/>
                </a:solidFill>
              </a:rPr>
              <a:t>What is needed to increase GFF visibility in your countries?</a:t>
            </a:r>
          </a:p>
          <a:p>
            <a:endParaRPr lang="en-US" sz="2800" b="1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>
                <a:solidFill>
                  <a:schemeClr val="bg1"/>
                </a:solidFill>
              </a:rPr>
              <a:t>What can you commit to doing now —assuming you have the resources? </a:t>
            </a:r>
            <a:endParaRPr lang="en-US" sz="2800" b="1">
              <a:solidFill>
                <a:schemeClr val="bg1"/>
              </a:solidFill>
              <a:cs typeface="Poppins"/>
            </a:endParaRPr>
          </a:p>
          <a:p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A3182B-654E-1840-B5AA-EA6A97F296ED}"/>
              </a:ext>
            </a:extLst>
          </p:cNvPr>
          <p:cNvSpPr txBox="1"/>
          <p:nvPr/>
        </p:nvSpPr>
        <p:spPr>
          <a:xfrm>
            <a:off x="729342" y="1539278"/>
            <a:ext cx="8501743" cy="8490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b="1">
                <a:solidFill>
                  <a:schemeClr val="bg1"/>
                </a:solidFill>
              </a:rPr>
              <a:t>At your tables, discuss the following questions:</a:t>
            </a:r>
          </a:p>
        </p:txBody>
      </p:sp>
    </p:spTree>
    <p:extLst>
      <p:ext uri="{BB962C8B-B14F-4D97-AF65-F5344CB8AC3E}">
        <p14:creationId xmlns:p14="http://schemas.microsoft.com/office/powerpoint/2010/main" val="4239331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4A2C5F-9659-92D1-7044-0E6026DDF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D90D63-3EA3-C990-F0AF-332BCBE48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90D63-3EA3-C990-F0AF-332BCBE48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4E0F096-DE6E-1302-B783-85A6C361FF73}"/>
              </a:ext>
            </a:extLst>
          </p:cNvPr>
          <p:cNvSpPr txBox="1"/>
          <p:nvPr/>
        </p:nvSpPr>
        <p:spPr>
          <a:xfrm>
            <a:off x="401648" y="262005"/>
            <a:ext cx="80456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Group discussion- Read out</a:t>
            </a:r>
            <a:endParaRPr lang="en-US" sz="4000" b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B3F831-46B1-BD8A-BA20-19C6870C1A65}"/>
              </a:ext>
            </a:extLst>
          </p:cNvPr>
          <p:cNvSpPr txBox="1"/>
          <p:nvPr/>
        </p:nvSpPr>
        <p:spPr>
          <a:xfrm>
            <a:off x="1284514" y="2302601"/>
            <a:ext cx="8262257" cy="187743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US" sz="2800" b="1">
                <a:solidFill>
                  <a:schemeClr val="bg1"/>
                </a:solidFill>
              </a:rPr>
              <a:t>Action Steps </a:t>
            </a:r>
          </a:p>
          <a:p>
            <a:pPr>
              <a:defRPr/>
            </a:pPr>
            <a:endParaRPr lang="en-US" sz="2800" b="1">
              <a:solidFill>
                <a:schemeClr val="bg1"/>
              </a:solidFill>
            </a:endParaRPr>
          </a:p>
          <a:p>
            <a:pPr>
              <a:defRPr/>
            </a:pPr>
            <a:r>
              <a:rPr lang="en-US" sz="2000">
                <a:solidFill>
                  <a:schemeClr val="bg1"/>
                </a:solidFill>
              </a:rPr>
              <a:t>Concrete, role-based suggestions over the next 6-12 months. </a:t>
            </a:r>
            <a:endParaRPr lang="en-US" sz="2000">
              <a:solidFill>
                <a:schemeClr val="bg1"/>
              </a:solidFill>
              <a:cs typeface="Poppins"/>
            </a:endParaRPr>
          </a:p>
          <a:p>
            <a:pPr>
              <a:defRPr/>
            </a:pPr>
            <a:endParaRPr lang="en-US" sz="2000">
              <a:solidFill>
                <a:schemeClr val="bg1"/>
              </a:solidFill>
              <a:cs typeface="Poppins"/>
            </a:endParaRPr>
          </a:p>
          <a:p>
            <a:pPr>
              <a:defRPr/>
            </a:pPr>
            <a:endParaRPr lang="en-US" sz="2000">
              <a:solidFill>
                <a:schemeClr val="bg1"/>
              </a:solidFill>
              <a:cs typeface="Poppin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33929B-15BC-8E0B-2A5F-77168225FE89}"/>
              </a:ext>
            </a:extLst>
          </p:cNvPr>
          <p:cNvSpPr txBox="1"/>
          <p:nvPr/>
        </p:nvSpPr>
        <p:spPr>
          <a:xfrm>
            <a:off x="5981699" y="5543526"/>
            <a:ext cx="61177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>
                <a:solidFill>
                  <a:schemeClr val="bg1"/>
                </a:solidFill>
              </a:rPr>
              <a:t>1 minute per table</a:t>
            </a:r>
          </a:p>
        </p:txBody>
      </p:sp>
      <p:pic>
        <p:nvPicPr>
          <p:cNvPr id="9" name="Graphic 8" descr="Bullseye with solid fill">
            <a:extLst>
              <a:ext uri="{FF2B5EF4-FFF2-40B4-BE49-F238E27FC236}">
                <a16:creationId xmlns:a16="http://schemas.microsoft.com/office/drawing/2014/main" id="{BCA3B9F8-838F-7E15-2A1D-3DB52ADFE5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15142" y="398279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040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7DBAA-B351-9184-E7A3-24583BF26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7DC7FD-2DA4-8349-7F9D-6DE4C84D28F8}"/>
              </a:ext>
            </a:extLst>
          </p:cNvPr>
          <p:cNvSpPr txBox="1">
            <a:spLocks/>
          </p:cNvSpPr>
          <p:nvPr/>
        </p:nvSpPr>
        <p:spPr>
          <a:xfrm>
            <a:off x="780048" y="363206"/>
            <a:ext cx="11084509" cy="134709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9544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>
                <a:latin typeface="Poppins"/>
                <a:cs typeface="Poppins"/>
              </a:rPr>
              <a:t>Making It Work – Our Roles</a:t>
            </a:r>
          </a:p>
          <a:p>
            <a:pPr marL="285750" indent="-285750">
              <a:buFont typeface="Arial"/>
              <a:buChar char="•"/>
              <a:defRPr/>
            </a:pPr>
            <a:endParaRPr lang="en-US" sz="3500"/>
          </a:p>
          <a:p>
            <a:pPr>
              <a:defRPr/>
            </a:pPr>
            <a:endParaRPr lang="en-US" sz="3500" b="1">
              <a:latin typeface="Poppins"/>
              <a:cs typeface="Poppin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9F55A-5E7A-2D5D-C4AD-07D88F1192D3}"/>
              </a:ext>
            </a:extLst>
          </p:cNvPr>
          <p:cNvSpPr txBox="1"/>
          <p:nvPr/>
        </p:nvSpPr>
        <p:spPr>
          <a:xfrm>
            <a:off x="327443" y="1440013"/>
            <a:ext cx="9723475" cy="480131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742950" lvl="1" indent="-285750">
              <a:buFont typeface="Arial"/>
              <a:buChar char="•"/>
              <a:defRPr/>
            </a:pPr>
            <a:r>
              <a:rPr lang="en-US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Government Focal Points  - </a:t>
            </a:r>
            <a:r>
              <a:rPr lang="en-US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support communication on GFF's contribution to country priorities. </a:t>
            </a:r>
          </a:p>
          <a:p>
            <a:pPr lvl="1">
              <a:defRPr/>
            </a:pPr>
            <a:endParaRPr lang="en-US">
              <a:latin typeface="Poppins" panose="00000500000000000000" pitchFamily="2" charset="0"/>
              <a:ea typeface="+mj-lt"/>
              <a:cs typeface="Poppins" panose="00000500000000000000" pitchFamily="2" charset="0"/>
            </a:endParaRPr>
          </a:p>
          <a:p>
            <a:pPr marL="742950" lvl="1" indent="-285750">
              <a:buFont typeface="Arial"/>
              <a:buChar char="•"/>
              <a:defRPr/>
            </a:pPr>
            <a:r>
              <a:rPr lang="en-US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GFF Country Coordinators</a:t>
            </a:r>
            <a:r>
              <a:rPr lang="en-US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 – leveraging country platforms, foster and strengthen local relationships, including with GFF development partners.</a:t>
            </a:r>
          </a:p>
          <a:p>
            <a:pPr lvl="1">
              <a:defRPr/>
            </a:pPr>
            <a:endParaRPr lang="en-US">
              <a:latin typeface="Poppins" panose="00000500000000000000" pitchFamily="2" charset="0"/>
              <a:ea typeface="+mj-lt"/>
              <a:cs typeface="Poppins" panose="00000500000000000000" pitchFamily="2" charset="0"/>
            </a:endParaRPr>
          </a:p>
          <a:p>
            <a:pPr marL="742950" lvl="1" indent="-285750">
              <a:buFont typeface="Arial"/>
              <a:buChar char="•"/>
              <a:defRPr/>
            </a:pPr>
            <a:r>
              <a:rPr lang="en-US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WB Task Teams and CMUs</a:t>
            </a:r>
            <a:r>
              <a:rPr lang="en-US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 – integrate GFF into missions and events, and ensure visibility of GFF contribution in reports, communications and events.</a:t>
            </a:r>
          </a:p>
          <a:p>
            <a:pPr lvl="1">
              <a:defRPr/>
            </a:pPr>
            <a:endParaRPr lang="en-US" b="1">
              <a:latin typeface="Poppins" panose="00000500000000000000" pitchFamily="2" charset="0"/>
              <a:ea typeface="+mj-lt"/>
              <a:cs typeface="Poppins" panose="00000500000000000000" pitchFamily="2" charset="0"/>
            </a:endParaRPr>
          </a:p>
          <a:p>
            <a:pPr marL="742950" lvl="1" indent="-285750">
              <a:buFont typeface="Arial"/>
              <a:buChar char="•"/>
              <a:defRPr/>
            </a:pPr>
            <a:r>
              <a:rPr lang="en-US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GFF Secretariat External</a:t>
            </a:r>
            <a:r>
              <a:rPr lang="en-US" sz="1800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 Relations Team</a:t>
            </a:r>
            <a:r>
              <a:rPr lang="en-US" sz="1800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 –</a:t>
            </a:r>
            <a:r>
              <a:rPr lang="en-US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 enhance the dissemination of key information on GFF partnership and donors, strategy and resource mobilization. </a:t>
            </a:r>
          </a:p>
          <a:p>
            <a:pPr lvl="1">
              <a:defRPr/>
            </a:pPr>
            <a:endParaRPr lang="en-US">
              <a:latin typeface="Poppins" panose="00000500000000000000" pitchFamily="2" charset="0"/>
              <a:ea typeface="+mj-lt"/>
              <a:cs typeface="Poppins" panose="00000500000000000000" pitchFamily="2" charset="0"/>
            </a:endParaRPr>
          </a:p>
          <a:p>
            <a:pPr marL="742950" lvl="1" indent="-285750">
              <a:buFont typeface="Arial"/>
              <a:buChar char="•"/>
              <a:defRPr/>
            </a:pPr>
            <a:r>
              <a:rPr lang="en-US" b="1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GFF Secretariat Focal points</a:t>
            </a:r>
            <a:r>
              <a:rPr lang="en-US">
                <a:latin typeface="Poppins" panose="00000500000000000000" pitchFamily="2" charset="0"/>
                <a:ea typeface="+mj-lt"/>
                <a:cs typeface="Poppins" panose="00000500000000000000" pitchFamily="2" charset="0"/>
              </a:rPr>
              <a:t>: stronger communication to Government focal points and coordinators and WB teams on core donors and key priorities to meet</a:t>
            </a:r>
          </a:p>
          <a:p>
            <a:pPr lvl="1">
              <a:defRPr/>
            </a:pPr>
            <a:endParaRPr lang="en-US">
              <a:latin typeface="Poppins" panose="00000500000000000000" pitchFamily="2" charset="0"/>
              <a:ea typeface="+mj-lt"/>
              <a:cs typeface="Poppins" panose="00000500000000000000" pitchFamily="2" charset="0"/>
            </a:endParaRPr>
          </a:p>
        </p:txBody>
      </p:sp>
      <p:pic>
        <p:nvPicPr>
          <p:cNvPr id="5" name="Graphic 4" descr="Remote work with solid fill">
            <a:extLst>
              <a:ext uri="{FF2B5EF4-FFF2-40B4-BE49-F238E27FC236}">
                <a16:creationId xmlns:a16="http://schemas.microsoft.com/office/drawing/2014/main" id="{FB21C036-4B8B-FB4C-5965-AE183A3A22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9342" y="3840670"/>
            <a:ext cx="1399479" cy="139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42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676C75-3A27-A4C2-D3E8-DF69912F8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A81118D0-BCE4-8AEB-EFC8-C8F41F400EBC}"/>
              </a:ext>
            </a:extLst>
          </p:cNvPr>
          <p:cNvSpPr txBox="1">
            <a:spLocks/>
          </p:cNvSpPr>
          <p:nvPr/>
        </p:nvSpPr>
        <p:spPr>
          <a:xfrm>
            <a:off x="181333" y="580920"/>
            <a:ext cx="11084509" cy="134709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9544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>
              <a:defRPr/>
            </a:pPr>
            <a:r>
              <a:rPr lang="en-US" sz="3500" b="1">
                <a:solidFill>
                  <a:srgbClr val="09544F"/>
                </a:solidFill>
                <a:latin typeface="Poppins"/>
                <a:ea typeface="+mj-ea"/>
                <a:cs typeface="Poppins"/>
              </a:rPr>
              <a:t>Looking Ahead: 6 Months and 1 Year from No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85FE1F-6AEB-62D1-7CD7-6E1534CEFB8B}"/>
              </a:ext>
            </a:extLst>
          </p:cNvPr>
          <p:cNvSpPr txBox="1"/>
          <p:nvPr/>
        </p:nvSpPr>
        <p:spPr>
          <a:xfrm>
            <a:off x="1193347" y="1358537"/>
            <a:ext cx="10197192" cy="44935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Poppins"/>
                <a:cs typeface="Poppins"/>
              </a:rPr>
              <a:t>The GFF is referenced in </a:t>
            </a:r>
            <a:r>
              <a:rPr lang="en-US" sz="2200" b="1">
                <a:latin typeface="Poppins"/>
                <a:cs typeface="Poppins"/>
              </a:rPr>
              <a:t>government and donor meetings</a:t>
            </a:r>
            <a:r>
              <a:rPr lang="en-US" sz="2200">
                <a:latin typeface="Poppins"/>
                <a:cs typeface="Poppins"/>
              </a:rPr>
              <a:t> and relevant planning discussions.</a:t>
            </a:r>
          </a:p>
          <a:p>
            <a:endParaRPr lang="en-US" sz="2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Poppins"/>
                <a:cs typeface="Poppins"/>
              </a:rPr>
              <a:t>The GFF’s role is </a:t>
            </a:r>
            <a:r>
              <a:rPr lang="en-US" sz="2200" b="1">
                <a:latin typeface="Poppins"/>
                <a:cs typeface="Poppins"/>
              </a:rPr>
              <a:t>reflected in relevant national reports and local media.</a:t>
            </a:r>
          </a:p>
          <a:p>
            <a:endParaRPr lang="en-US" sz="2200" b="1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en-US" altLang="en-US" sz="2200" b="1" i="0" u="none" strike="noStrike" cap="none" normalizeH="0" baseline="0">
                <a:ln>
                  <a:noFill/>
                </a:ln>
                <a:effectLst/>
                <a:latin typeface="Poppins"/>
                <a:cs typeface="Poppins"/>
              </a:rPr>
              <a:t>Progress stories</a:t>
            </a:r>
            <a:r>
              <a:rPr kumimoji="0" lang="en-US" altLang="en-US" sz="2200" b="0" i="0" u="none" strike="noStrike" cap="none" normalizeH="0" baseline="0">
                <a:ln>
                  <a:noFill/>
                </a:ln>
                <a:effectLst/>
                <a:latin typeface="Poppins"/>
                <a:cs typeface="Poppins"/>
              </a:rPr>
              <a:t> are shared with national stakeholders, partners, and donors.</a:t>
            </a:r>
            <a:endParaRPr lang="en-US" altLang="en-US" sz="2200" b="0" i="0" u="none" strike="noStrike" cap="none" normalizeH="0" baseline="0">
              <a:ln>
                <a:noFill/>
              </a:ln>
              <a:effectLst/>
              <a:latin typeface="Poppins"/>
              <a:cs typeface="Poppins"/>
            </a:endParaRPr>
          </a:p>
          <a:p>
            <a:endParaRPr kumimoji="0" lang="en-US" altLang="en-US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Poppins"/>
                <a:cs typeface="Poppins"/>
              </a:rPr>
              <a:t>Donors in-country are </a:t>
            </a:r>
            <a:r>
              <a:rPr lang="en-US" sz="2200" b="1">
                <a:latin typeface="Poppins"/>
                <a:cs typeface="Poppins"/>
              </a:rPr>
              <a:t>kept informed</a:t>
            </a:r>
            <a:r>
              <a:rPr lang="en-US" sz="2200">
                <a:latin typeface="Poppins"/>
                <a:cs typeface="Poppins"/>
              </a:rPr>
              <a:t> of GFF activities and progre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Poppins"/>
                <a:cs typeface="Poppins"/>
              </a:rPr>
              <a:t>Line ministries, key partners, and technical teams share a </a:t>
            </a:r>
            <a:r>
              <a:rPr lang="en-US" sz="2200" b="1">
                <a:latin typeface="Poppins"/>
                <a:cs typeface="Poppins"/>
              </a:rPr>
              <a:t>common understanding of GFF’s role</a:t>
            </a:r>
            <a:endParaRPr lang="en-US" sz="2200">
              <a:latin typeface="Poppins"/>
              <a:cs typeface="Poppi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159712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jIZXBKiAZKs8lJImIM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rO_3_1UBAF9l4Dmiqg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CWYFdp4KON0E9EnSQs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8zDgRxiyFuZamLJ2Lh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kni_8VPVe0ctqqPkpG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VEnpJw892gvbO1TK7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5KZKofRdJMJudmp_Gv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xj38jI5ZZD8HFA8ua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JKyvDinLdwdEh5U0H4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G0KoWC.0QGWOM197kc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FXUpUyUD4gSOR2_0V0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halo9TL8LdjJl2lGK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e2KjVh7341wHj9p55Z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KVESUYh5PEnzuw9y2a8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A8377rXpU.A7yplvX4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JUSrxDdKerGUj4nVBM4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Qfw1gxvMiwvQzQ1dPA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.lARQ4YOS3XD4ZFbCs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bOCn5H7qA1Wiaz0Ct1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oq.MHLu4PaaOZjV2uM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JmneJD2AlN7ca3OKqT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rslwJWTWQZJ7l9UFS.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N1Wq2iZkACUd8OqbUl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UGMVkMawg17BG1WWRE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CcN_xhYGZcFY0zODS6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GKrCm7kETgzzBy7tLi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eK6UL1aledqjA5pTu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T9SzgRva5kW1mPstjZ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JI4Z2ELkg9.gvsDu2Q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0eSkX6el4wJbM7eSWM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GFF_Final Templat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ustom 2">
      <a:majorFont>
        <a:latin typeface="Poppins SemiBold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FA29C"/>
        </a:solidFill>
      </a:spPr>
      <a:bodyPr wrap="square" lIns="182880" tIns="457200" rIns="182880" bIns="0" rtlCol="0" anchor="ctr"/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1000"/>
          </a:spcBef>
          <a:spcAft>
            <a:spcPts val="0"/>
          </a:spcAft>
          <a:buClr>
            <a:srgbClr val="1FA19C"/>
          </a:buClr>
          <a:buSzTx/>
          <a:buFont typeface="Arial" panose="020B0604020202020204" pitchFamily="34" charset="0"/>
          <a:buChar char="•"/>
          <a:tabLst>
            <a:tab pos="756285" algn="l"/>
          </a:tabLst>
          <a:defRPr kumimoji="0" sz="1200" b="1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Poppins" panose="00000500000000000000" pitchFamily="2" charset="0"/>
            <a:ea typeface="+mn-ea"/>
            <a:cs typeface="Poppins" panose="00000500000000000000" pitchFamily="2" charset="0"/>
            <a:sym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3_GFF_101_deck">
  <a:themeElements>
    <a:clrScheme name="MerchantCantos - GFF">
      <a:dk1>
        <a:sysClr val="windowText" lastClr="000000"/>
      </a:dk1>
      <a:lt1>
        <a:sysClr val="window" lastClr="FFFFFF"/>
      </a:lt1>
      <a:dk2>
        <a:srgbClr val="1FA29C"/>
      </a:dk2>
      <a:lt2>
        <a:srgbClr val="FFFFFF"/>
      </a:lt2>
      <a:accent1>
        <a:srgbClr val="09544F"/>
      </a:accent1>
      <a:accent2>
        <a:srgbClr val="0C716B"/>
      </a:accent2>
      <a:accent3>
        <a:srgbClr val="D0CB17"/>
      </a:accent3>
      <a:accent4>
        <a:srgbClr val="7A1F6E"/>
      </a:accent4>
      <a:accent5>
        <a:srgbClr val="1A90C0"/>
      </a:accent5>
      <a:accent6>
        <a:srgbClr val="BFBFBF"/>
      </a:accent6>
      <a:hlink>
        <a:srgbClr val="09544F"/>
      </a:hlink>
      <a:folHlink>
        <a:srgbClr val="7A1F6E"/>
      </a:folHlink>
    </a:clrScheme>
    <a:fontScheme name="MerchantCantos - GFF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F_TEMPLATE_062322_V3.potx" id="{8BF89D7F-FA1F-AA4B-9784-79AE7B66C7DF}" vid="{88102782-330B-E74C-87FF-37C8533018F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9FCE9BF927064F98C42DD76ED49955" ma:contentTypeVersion="17" ma:contentTypeDescription="Crée un document." ma:contentTypeScope="" ma:versionID="32a82bde2fae90d352f64184d78658b0">
  <xsd:schema xmlns:xsd="http://www.w3.org/2001/XMLSchema" xmlns:xs="http://www.w3.org/2001/XMLSchema" xmlns:p="http://schemas.microsoft.com/office/2006/metadata/properties" xmlns:ns2="0ed46340-9958-4cdf-94eb-2e05d6c6637f" xmlns:ns3="d3398ae2-713c-4198-a379-dac4c3dee16e" xmlns:ns4="3e02667f-0271-471b-bd6e-11a2e16def1d" targetNamespace="http://schemas.microsoft.com/office/2006/metadata/properties" ma:root="true" ma:fieldsID="2aeab4986a10f9eec4cbef0d27711692" ns2:_="" ns3:_="" ns4:_="">
    <xsd:import namespace="0ed46340-9958-4cdf-94eb-2e05d6c6637f"/>
    <xsd:import namespace="d3398ae2-713c-4198-a379-dac4c3dee16e"/>
    <xsd:import namespace="3e02667f-0271-471b-bd6e-11a2e16de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46340-9958-4cdf-94eb-2e05d6c663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2a6c10d7-b926-4fc0-945e-3cbf5049f6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398ae2-713c-4198-a379-dac4c3dee16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02667f-0271-471b-bd6e-11a2e16def1d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01cea393-cc03-460b-a050-890144b27938}" ma:internalName="TaxCatchAll" ma:showField="CatchAllData" ma:web="d3398ae2-713c-4198-a379-dac4c3dee1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e02667f-0271-471b-bd6e-11a2e16def1d" xsi:nil="true"/>
    <lcf76f155ced4ddcb4097134ff3c332f xmlns="0ed46340-9958-4cdf-94eb-2e05d6c6637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BD87D99-A45D-45EB-B30B-C1BC449A6D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386954-7FC1-4B15-871B-597F088A3BFE}"/>
</file>

<file path=customXml/itemProps3.xml><?xml version="1.0" encoding="utf-8"?>
<ds:datastoreItem xmlns:ds="http://schemas.openxmlformats.org/officeDocument/2006/customXml" ds:itemID="{9C07DCE1-3BD8-4343-8C2C-419DB2829EC2}">
  <ds:schemaRefs>
    <ds:schemaRef ds:uri="3e02667f-0271-471b-bd6e-11a2e16def1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0ed46340-9958-4cdf-94eb-2e05d6c6637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34</Words>
  <Application>Microsoft Office PowerPoint</Application>
  <PresentationFormat>Widescreen</PresentationFormat>
  <Paragraphs>103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Aptos</vt:lpstr>
      <vt:lpstr>Aptos Display</vt:lpstr>
      <vt:lpstr>Arial</vt:lpstr>
      <vt:lpstr>Courier New</vt:lpstr>
      <vt:lpstr>HK Grotesk</vt:lpstr>
      <vt:lpstr>Poppins</vt:lpstr>
      <vt:lpstr>Poppins </vt:lpstr>
      <vt:lpstr>Poppins Light</vt:lpstr>
      <vt:lpstr>Poppins SemiBold</vt:lpstr>
      <vt:lpstr>Verdana</vt:lpstr>
      <vt:lpstr>Wingdings</vt:lpstr>
      <vt:lpstr>office theme</vt:lpstr>
      <vt:lpstr>GFF_Final Template</vt:lpstr>
      <vt:lpstr>3_GFF_101_deck</vt:lpstr>
      <vt:lpstr>think-cell Slide</vt:lpstr>
      <vt:lpstr>PowerPoint Presentation</vt:lpstr>
      <vt:lpstr>PowerPoint Presentation</vt:lpstr>
      <vt:lpstr>PowerPoint Presentation</vt:lpstr>
      <vt:lpstr>RMNCAH-N global funding from the top 10 sovereign donors is expected to fall by at least 37% over 5 yea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ne-Sophie Monceau</dc:creator>
  <cp:lastModifiedBy>Pascal Franck Hildebert</cp:lastModifiedBy>
  <cp:revision>12</cp:revision>
  <dcterms:created xsi:type="dcterms:W3CDTF">2025-01-30T16:46:01Z</dcterms:created>
  <dcterms:modified xsi:type="dcterms:W3CDTF">2025-05-04T20:0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be16eaccf4749f086104f7c67297f76">
    <vt:lpwstr>World Bank|bc205cc9-8a56-48a3-9f30-b099e7707c1b</vt:lpwstr>
  </property>
  <property fmtid="{D5CDD505-2E9C-101B-9397-08002B2CF9AE}" pid="3" name="ContentTypeId">
    <vt:lpwstr>0x010100D29FCE9BF927064F98C42DD76ED49955</vt:lpwstr>
  </property>
  <property fmtid="{D5CDD505-2E9C-101B-9397-08002B2CF9AE}" pid="4" name="WBDocs_Originating_Unit">
    <vt:lpwstr>327;#GHNDR|3743b13f-1248-49d2-9560-cc87b6e9122c</vt:lpwstr>
  </property>
  <property fmtid="{D5CDD505-2E9C-101B-9397-08002B2CF9AE}" pid="5" name="TaxKeyword">
    <vt:lpwstr/>
  </property>
  <property fmtid="{D5CDD505-2E9C-101B-9397-08002B2CF9AE}" pid="6" name="hbe71f8dfd024405860d37e862f27a82">
    <vt:lpwstr/>
  </property>
  <property fmtid="{D5CDD505-2E9C-101B-9397-08002B2CF9AE}" pid="7" name="WBDocs_Country">
    <vt:lpwstr/>
  </property>
  <property fmtid="{D5CDD505-2E9C-101B-9397-08002B2CF9AE}" pid="8" name="WBDocs_Local_Document_Type">
    <vt:lpwstr/>
  </property>
  <property fmtid="{D5CDD505-2E9C-101B-9397-08002B2CF9AE}" pid="9" name="m23003d518f743f49dcbc82909afe93a">
    <vt:lpwstr/>
  </property>
  <property fmtid="{D5CDD505-2E9C-101B-9397-08002B2CF9AE}" pid="10" name="MediaServiceImageTags">
    <vt:lpwstr/>
  </property>
  <property fmtid="{D5CDD505-2E9C-101B-9397-08002B2CF9AE}" pid="11" name="d744a75525f04a8c9e54f4ed11bfe7c0">
    <vt:lpwstr/>
  </property>
  <property fmtid="{D5CDD505-2E9C-101B-9397-08002B2CF9AE}" pid="12" name="WBDocs_Topic">
    <vt:lpwstr/>
  </property>
  <property fmtid="{D5CDD505-2E9C-101B-9397-08002B2CF9AE}" pid="13" name="lcf76f155ced4ddcb4097134ff3c332f">
    <vt:lpwstr/>
  </property>
  <property fmtid="{D5CDD505-2E9C-101B-9397-08002B2CF9AE}" pid="14" name="TaxKeywordTaxHTField">
    <vt:lpwstr/>
  </property>
  <property fmtid="{D5CDD505-2E9C-101B-9397-08002B2CF9AE}" pid="15" name="Organization">
    <vt:lpwstr>3;#World Bank|bc205cc9-8a56-48a3-9f30-b099e7707c1b</vt:lpwstr>
  </property>
  <property fmtid="{D5CDD505-2E9C-101B-9397-08002B2CF9AE}" pid="16" name="WBDocs_Category">
    <vt:lpwstr/>
  </property>
  <property fmtid="{D5CDD505-2E9C-101B-9397-08002B2CF9AE}" pid="17" name="WBDocs_Language">
    <vt:lpwstr/>
  </property>
  <property fmtid="{D5CDD505-2E9C-101B-9397-08002B2CF9AE}" pid="18" name="n51c50147e554be9a5479ee6e2785bf7">
    <vt:lpwstr/>
  </property>
  <property fmtid="{D5CDD505-2E9C-101B-9397-08002B2CF9AE}" pid="19" name="pf1bc08d06b541998378c6b8090400d8">
    <vt:lpwstr/>
  </property>
  <property fmtid="{D5CDD505-2E9C-101B-9397-08002B2CF9AE}" pid="20" name="WBDocs_Business_Function">
    <vt:lpwstr/>
  </property>
</Properties>
</file>